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5"/>
  </p:notesMasterIdLst>
  <p:sldIdLst>
    <p:sldId id="257" r:id="rId3"/>
    <p:sldId id="256" r:id="rId4"/>
    <p:sldId id="259" r:id="rId5"/>
    <p:sldId id="282" r:id="rId6"/>
    <p:sldId id="260" r:id="rId7"/>
    <p:sldId id="261" r:id="rId8"/>
    <p:sldId id="262" r:id="rId9"/>
    <p:sldId id="284" r:id="rId10"/>
    <p:sldId id="285" r:id="rId11"/>
    <p:sldId id="265" r:id="rId12"/>
    <p:sldId id="287" r:id="rId13"/>
    <p:sldId id="283" r:id="rId14"/>
    <p:sldId id="301" r:id="rId15"/>
    <p:sldId id="274" r:id="rId16"/>
    <p:sldId id="278" r:id="rId17"/>
    <p:sldId id="279" r:id="rId18"/>
    <p:sldId id="268" r:id="rId19"/>
    <p:sldId id="276" r:id="rId20"/>
    <p:sldId id="277" r:id="rId21"/>
    <p:sldId id="272" r:id="rId22"/>
    <p:sldId id="303" r:id="rId23"/>
    <p:sldId id="286" r:id="rId24"/>
    <p:sldId id="273" r:id="rId25"/>
    <p:sldId id="312" r:id="rId26"/>
    <p:sldId id="310" r:id="rId27"/>
    <p:sldId id="288" r:id="rId28"/>
    <p:sldId id="289" r:id="rId29"/>
    <p:sldId id="290" r:id="rId30"/>
    <p:sldId id="291" r:id="rId31"/>
    <p:sldId id="292" r:id="rId32"/>
    <p:sldId id="293" r:id="rId33"/>
    <p:sldId id="294" r:id="rId34"/>
    <p:sldId id="295" r:id="rId35"/>
    <p:sldId id="296" r:id="rId36"/>
    <p:sldId id="297" r:id="rId37"/>
    <p:sldId id="298" r:id="rId38"/>
    <p:sldId id="299" r:id="rId39"/>
    <p:sldId id="313" r:id="rId40"/>
    <p:sldId id="300" r:id="rId41"/>
    <p:sldId id="314" r:id="rId42"/>
    <p:sldId id="315" r:id="rId43"/>
    <p:sldId id="305" r:id="rId44"/>
    <p:sldId id="316" r:id="rId45"/>
    <p:sldId id="317" r:id="rId46"/>
    <p:sldId id="318" r:id="rId47"/>
    <p:sldId id="319" r:id="rId48"/>
    <p:sldId id="330" r:id="rId49"/>
    <p:sldId id="332" r:id="rId50"/>
    <p:sldId id="321" r:id="rId51"/>
    <p:sldId id="311" r:id="rId52"/>
    <p:sldId id="322" r:id="rId53"/>
    <p:sldId id="304" r:id="rId54"/>
    <p:sldId id="307" r:id="rId55"/>
    <p:sldId id="308" r:id="rId56"/>
    <p:sldId id="309" r:id="rId57"/>
    <p:sldId id="323" r:id="rId58"/>
    <p:sldId id="324" r:id="rId59"/>
    <p:sldId id="325" r:id="rId60"/>
    <p:sldId id="329" r:id="rId61"/>
    <p:sldId id="320" r:id="rId62"/>
    <p:sldId id="271" r:id="rId63"/>
    <p:sldId id="306" r:id="rId6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646"/>
    <a:srgbClr val="F29D64"/>
    <a:srgbClr val="EF8944"/>
    <a:srgbClr val="8EA7FF"/>
    <a:srgbClr val="291E18"/>
    <a:srgbClr val="333C34"/>
    <a:srgbClr val="DEEE97"/>
    <a:srgbClr val="87E75E"/>
    <a:srgbClr val="DFEE9B"/>
    <a:srgbClr val="263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نمط فاتح 1 - تميي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نمط ذو نسُق 1 - تميي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116" autoAdjust="0"/>
    <p:restoredTop sz="94061" autoAdjust="0"/>
  </p:normalViewPr>
  <p:slideViewPr>
    <p:cSldViewPr snapToGrid="0">
      <p:cViewPr varScale="1">
        <p:scale>
          <a:sx n="82" d="100"/>
          <a:sy n="82" d="100"/>
        </p:scale>
        <p:origin x="259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2F0BCE12-4BFB-49D2-8DAA-3FE59C0B2B9F}" type="datetimeFigureOut">
              <a:rPr lang="ar-EG" smtClean="0"/>
              <a:t>16/12/1445</a:t>
            </a:fld>
            <a:endParaRPr lang="ar-E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E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E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4F5B2DD8-A722-4C4A-86E0-4C7136284DB5}" type="slidenum">
              <a:rPr lang="ar-EG" smtClean="0"/>
              <a:t>‹#›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7756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E697F-5F9D-D11F-DB78-61EA2D35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>
            <a:extLst>
              <a:ext uri="{FF2B5EF4-FFF2-40B4-BE49-F238E27FC236}">
                <a16:creationId xmlns:a16="http://schemas.microsoft.com/office/drawing/2014/main" id="{91D3E772-E2C7-BCBA-F7BA-2CF21962FA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>
            <a:extLst>
              <a:ext uri="{FF2B5EF4-FFF2-40B4-BE49-F238E27FC236}">
                <a16:creationId xmlns:a16="http://schemas.microsoft.com/office/drawing/2014/main" id="{F14B4E8A-29BA-E528-8118-B26BE9366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 dirty="0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84658BF1-074C-604C-C88A-A0C196F5A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5B2DD8-A722-4C4A-86E0-4C7136284DB5}" type="slidenum">
              <a:rPr lang="ar-EG" smtClean="0"/>
              <a:t>12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1932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5B2DD8-A722-4C4A-86E0-4C7136284DB5}" type="slidenum">
              <a:rPr kumimoji="0" lang="ar-E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ar-E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180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8AD4F-E965-4584-A22D-66B0DEFF0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93DDE-5562-4F25-BD31-72CD8F0890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61B8D-3405-4997-8938-5D62F8D4D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D7109-63FD-4956-A776-B84B0043D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F3CA8-39B5-43CB-A609-D43147F91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414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CB332-D243-4F9D-8187-30928E9B3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638F18-EF59-4028-B367-52DF169CAB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2CAD80-68C2-4775-8EE8-BCA0113F3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36D61-85C9-4FA0-9F98-1D2C1B2D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D4B45-B868-4E6F-8C5B-BE89AF551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72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372FDC-5B49-4B27-8B11-D7788F4D69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7BE28B-B7FD-40B2-857E-B803692B42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C79A70-9FC3-4038-B67E-21F7A4FB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0E4CB-C3AB-4499-81B9-C3A2CAFD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F5913-93A1-4E4C-8BBF-93F18CE86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309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EA72C-F91A-755C-A289-645A219309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5E847D-1813-79D1-689D-7DCB8B586E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B29B6-2C19-EC49-3C84-964A24190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B31DB-780A-B543-4195-0CCBD74ED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927FD-6EF7-9D86-F85A-F8DF306A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06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2A2CB-C99A-63D7-8BA2-5FA853D92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85C40-1C7F-03AC-6D99-D633020B2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27B8AB-C495-6615-8F28-6DCA14137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67AB4-2FD5-D660-59BD-9FEE3329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14A09-AC01-F85F-5853-8EB79E7D7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79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D2433-3FEB-BAC8-2142-AED11176C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436B4-D9E6-4E8B-DB8F-BC02A6221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BF8AA-54A3-2C7F-E020-26B3D5361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2F334-BDC8-B3D4-B56B-40E8E507C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81EBB-81C9-37FD-A297-A5B2F84C7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0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866CE-D063-09F1-CC30-2F4864A39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50BCD0-C7BE-F250-D803-8E14DB8117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B61F55-3F6B-04A1-B3FF-709427F5B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32B7BD-B008-DF90-5114-1A6B5F2F7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3D292-D21A-A9B9-2F4D-AE9937D6E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35C12-D25E-6A95-010E-708D7AFBD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23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3AAEE-4178-F8F0-D178-A7F9230ED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02FB3-23BC-57CC-0A24-E559BC26B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4185C3-00EA-9EC3-8916-A78603BCB4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999ECC-2C06-75E0-8095-D288CF66CD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4ADB8-0439-DCC9-37A8-194F6C17A5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5B9CF6-1CD0-DF03-5516-E968E1D69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3563A-FBA2-2B50-A8E2-5A62AA66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990321-23F3-1CB2-7B81-6C91C4852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45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2FCA-FBFB-A5AD-7B4F-E7E17738C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69915B-E228-428D-35C3-B8F7D2907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559AD6-938B-E7AF-02E7-78A2B148A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02A3-1975-8779-4939-B620D558D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63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1726F1-829E-8E36-4640-CE4526AD6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B1B241-F3C8-A234-0C5B-BB283DAAC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0B74E-F7EE-EBE0-A6A8-B47746C4E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43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F4CCC-00B5-4041-7E76-30662F2F0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F6CEA-E4A3-CC17-2F22-0915DD159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7341EC-25AF-F866-FDA4-15F4B3710A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8F424F-846B-1F8F-28B1-ABAEF9955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40FC83-F26C-29A2-B5D8-374DEA2AD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AD3B05-4E18-2B99-EE10-8D251E9B0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6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8BA53-BA37-48D2-991E-8E1612A83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0DE06-783C-4468-8471-D4FCD2A3D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4C59C7-472F-4E9E-8B8A-A306F4EB5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0BC8DC-C991-4F0B-AB85-2E55D876C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BB826-489C-4C00-9496-80F64A0B9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889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8C475-F141-B47C-6897-79EF41F7A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90F4B-CDED-AEB4-0586-21EFCC7C06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D0422-DF46-BE28-FC6D-92BA86E6F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9CFE20-2E66-F7F9-0152-89920644F0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9C55EA-26FD-858B-CA18-D08CBE266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64724-3518-CA7F-9D93-453695150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9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E52FA-DDEC-70F4-F46B-508F8BEC8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16C492-C5B7-2FA2-5508-101CB524D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CC2404-1BDF-31E1-B675-DFB4E337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FB6C3-6078-562C-3AA9-B9C7443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254F8-6547-FE69-2B81-A72333DAC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10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E482FB-5697-F9F4-2F3C-86DF4ED62B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A3DBB1-7D88-97B8-BA0D-96BF6EBA1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9DFA19-BA85-BB83-2EBE-EEE120B3C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9DCB36-C1C0-0A92-4997-70AA54FDF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B7617-3B52-6E47-DCB0-5FFEA1CA7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64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03568-8AB8-487D-A86A-7A80C6252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EF370F-8B94-4A92-8175-05FBD99FB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095666-115F-4812-97F6-DB161ECC6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F3DAE-B874-4205-B023-D42486DEE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7D4C5-0AD4-42DA-ABED-5BB381129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6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F1B5B-B083-4CBC-80F2-3FA8F869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A398CB-07A8-4290-9356-976E4AD61B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38A805-A744-4C8F-85BA-DADD41CE1D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A5FAF-19CE-4489-B463-64D1CF38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E358F4-3D24-4038-BECB-73675BEDE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43895A-D3A3-4C7F-86B9-2766B54B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959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CBCF-801E-4216-8B06-00A3E08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00DAC-6F1D-4AA6-AC85-6A5B5767F2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3938B-66C7-4D00-8FDD-31B0471EFE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F22CA9-E613-4539-9601-69274B2D79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5B9A61-8D2F-406B-997E-6B1237BFE8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935A75-FF0C-44F6-BF5E-D8D4300F6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A5CE35-BAE9-4199-9B1F-733CB1036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A153BF-AB52-4E05-B746-C0ADB7B8D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637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BF723-0108-4687-B027-57C109017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011DC4-0485-48BF-8F20-68399555D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DE1BF-8400-47BB-8AAE-343FB4610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1454B-3F1D-4AF0-8B13-17635917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55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5E1F4E-9486-4B24-A5C2-C64F5878C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F00568-2122-428A-9046-0CC95DC0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20F2C-D402-4A7F-BB23-18B91E246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16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35C04-BEED-44C2-8AC0-CEF576D9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33E34-12D0-4A15-85E7-010B4DB57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F7AFE2-957F-418C-9B84-6A238439E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3CBE2-5766-46BE-9871-5DB9624FD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C490A-E10D-4308-A8E4-FE30746D9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19FE8-398C-40D5-89C0-33B352442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96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DAB8B-DC6D-41DB-B9BF-BF90ECDBD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CEEBF4-FAA3-4A0D-992F-1EB3DCCF95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BC465D-503A-4DE2-B848-29A8BD539E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02EA2-1EFD-4019-84C2-713B9E829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95454-51BC-460B-B588-CBE5005A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7CD8-48B7-41EE-9F0E-7CE8E81A0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73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65EEE1-0094-439C-A280-E2C439C74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E66F5-52DC-4335-B85F-9D36DFA191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FC38F-1C31-4F16-A8F3-1F7C0269C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C4E8C-6ED5-486B-B092-D6C97EBBF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95AFA-FDB3-4BD9-9D46-A745D425E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9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7B7470-CC8A-B11F-25A4-7AA7A9951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6C03B-B772-7EEE-7A08-AAE573374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E32F-2463-B463-9F5C-52423363E0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A75C8-7964-819F-6384-EB9C6B5606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ED059-D459-4788-89E0-BCF0EF9FB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58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51.jpeg"/><Relationship Id="rId7" Type="http://schemas.openxmlformats.org/officeDocument/2006/relationships/image" Target="../media/image54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4.jp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23" Type="http://schemas.openxmlformats.org/officeDocument/2006/relationships/image" Target="../media/image1.png"/><Relationship Id="rId10" Type="http://schemas.openxmlformats.org/officeDocument/2006/relationships/image" Target="../media/image11.svg"/><Relationship Id="rId19" Type="http://schemas.openxmlformats.org/officeDocument/2006/relationships/image" Target="../media/image20.jpe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10" Type="http://schemas.openxmlformats.org/officeDocument/2006/relationships/image" Target="../media/image1.png"/><Relationship Id="rId4" Type="http://schemas.openxmlformats.org/officeDocument/2006/relationships/image" Target="../media/image66.svg"/><Relationship Id="rId9" Type="http://schemas.openxmlformats.org/officeDocument/2006/relationships/image" Target="../media/image71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5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" Target="slide62.xml"/><Relationship Id="rId13" Type="http://schemas.openxmlformats.org/officeDocument/2006/relationships/image" Target="../media/image1020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12" Type="http://schemas.openxmlformats.org/officeDocument/2006/relationships/image" Target="../media/image10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jpg"/><Relationship Id="rId11" Type="http://schemas.openxmlformats.org/officeDocument/2006/relationships/image" Target="../media/image1010.png"/><Relationship Id="rId5" Type="http://schemas.openxmlformats.org/officeDocument/2006/relationships/image" Target="../media/image98.jpg"/><Relationship Id="rId10" Type="http://schemas.openxmlformats.org/officeDocument/2006/relationships/image" Target="../media/image101.png"/><Relationship Id="rId4" Type="http://schemas.openxmlformats.org/officeDocument/2006/relationships/image" Target="../media/image97.jpg"/><Relationship Id="rId9" Type="http://schemas.openxmlformats.org/officeDocument/2006/relationships/image" Target="../media/image1000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slide" Target="slide62.xml"/><Relationship Id="rId13" Type="http://schemas.openxmlformats.org/officeDocument/2006/relationships/image" Target="../media/image1020.png"/><Relationship Id="rId3" Type="http://schemas.openxmlformats.org/officeDocument/2006/relationships/image" Target="../media/image103.jpg"/><Relationship Id="rId7" Type="http://schemas.openxmlformats.org/officeDocument/2006/relationships/image" Target="../media/image100.png"/><Relationship Id="rId12" Type="http://schemas.openxmlformats.org/officeDocument/2006/relationships/image" Target="../media/image10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jpg"/><Relationship Id="rId11" Type="http://schemas.openxmlformats.org/officeDocument/2006/relationships/image" Target="../media/image1010.png"/><Relationship Id="rId5" Type="http://schemas.openxmlformats.org/officeDocument/2006/relationships/image" Target="../media/image98.jpg"/><Relationship Id="rId10" Type="http://schemas.openxmlformats.org/officeDocument/2006/relationships/image" Target="../media/image101.png"/><Relationship Id="rId4" Type="http://schemas.openxmlformats.org/officeDocument/2006/relationships/image" Target="../media/image104.jpg"/><Relationship Id="rId9" Type="http://schemas.openxmlformats.org/officeDocument/2006/relationships/image" Target="../media/image1000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6.jpg"/><Relationship Id="rId7" Type="http://schemas.openxmlformats.org/officeDocument/2006/relationships/image" Target="../media/image108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2.xml"/><Relationship Id="rId5" Type="http://schemas.openxmlformats.org/officeDocument/2006/relationships/image" Target="../media/image108.png"/><Relationship Id="rId4" Type="http://schemas.openxmlformats.org/officeDocument/2006/relationships/image" Target="../media/image107.jpg"/><Relationship Id="rId9" Type="http://schemas.openxmlformats.org/officeDocument/2006/relationships/image" Target="../media/image1090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10.jpg"/><Relationship Id="rId7" Type="http://schemas.openxmlformats.org/officeDocument/2006/relationships/image" Target="../media/image108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2.xml"/><Relationship Id="rId5" Type="http://schemas.openxmlformats.org/officeDocument/2006/relationships/image" Target="../media/image108.png"/><Relationship Id="rId4" Type="http://schemas.openxmlformats.org/officeDocument/2006/relationships/image" Target="../media/image111.jpg"/><Relationship Id="rId9" Type="http://schemas.openxmlformats.org/officeDocument/2006/relationships/image" Target="../media/image1090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2.png"/><Relationship Id="rId7" Type="http://schemas.openxmlformats.org/officeDocument/2006/relationships/image" Target="../media/image116.jf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1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12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62.xml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6AF82CCD-BD15-8ACA-C380-6521029CBD81}"/>
              </a:ext>
            </a:extLst>
          </p:cNvPr>
          <p:cNvSpPr/>
          <p:nvPr/>
        </p:nvSpPr>
        <p:spPr>
          <a:xfrm>
            <a:off x="2493530" y="2529586"/>
            <a:ext cx="1971777" cy="199021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5B44607-CA71-4108-AF35-33A38B973556}"/>
              </a:ext>
            </a:extLst>
          </p:cNvPr>
          <p:cNvSpPr txBox="1"/>
          <p:nvPr/>
        </p:nvSpPr>
        <p:spPr>
          <a:xfrm>
            <a:off x="6274475" y="3260441"/>
            <a:ext cx="361022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400" b="1" dirty="0" err="1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HRBotix</a:t>
            </a:r>
            <a:r>
              <a:rPr lang="en-US" sz="3400" b="1" dirty="0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System</a:t>
            </a:r>
          </a:p>
          <a:p>
            <a:r>
              <a:rPr lang="en-US" sz="34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I-EHRM System</a:t>
            </a:r>
          </a:p>
        </p:txBody>
      </p: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E51A3AC-8D30-4581-8DD7-74976CF7D0FD}"/>
              </a:ext>
            </a:extLst>
          </p:cNvPr>
          <p:cNvGrpSpPr/>
          <p:nvPr/>
        </p:nvGrpSpPr>
        <p:grpSpPr>
          <a:xfrm>
            <a:off x="667367" y="698909"/>
            <a:ext cx="5641271" cy="5641271"/>
            <a:chOff x="659666" y="598425"/>
            <a:chExt cx="5641271" cy="5641271"/>
          </a:xfrm>
          <a:solidFill>
            <a:srgbClr val="0D0D0D"/>
          </a:solidFill>
          <a:effectLst/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91AC262-9716-4414-B895-E4DA7A21C1C5}"/>
                </a:ext>
              </a:extLst>
            </p:cNvPr>
            <p:cNvGrpSpPr/>
            <p:nvPr/>
          </p:nvGrpSpPr>
          <p:grpSpPr>
            <a:xfrm>
              <a:off x="659666" y="598425"/>
              <a:ext cx="5641271" cy="5641271"/>
              <a:chOff x="1224922" y="598425"/>
              <a:chExt cx="5641271" cy="5641271"/>
            </a:xfrm>
            <a:grpFill/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CD6C4E4A-E712-41C4-8BD7-851BC1129879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0C67887-1461-41D9-97B1-C420F58099E8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3350902-52CA-419B-AF1D-F38AE33A093C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0CB4885-4CED-43DB-BF99-9618319762A5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F41517B-D9B9-468D-B05A-0318386E78EB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4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B245ADF-7664-4A2B-85EB-A9DFF9EF4AA3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FEA8A56-F0FF-40B6-8134-A2EF8497361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D75FC2-F7E9-4D4D-9FB4-1F8C0E886870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3037B79-FF6A-416A-961E-E40A96A1A97A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3105D1F-DECC-46E5-BBBD-AC55B0823584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8E7EBE3-7E40-42E5-A553-6A113BF3D7A6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1E2DA96-3FD1-4E7E-B063-ED44E46F92E9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6A79BA0-AD14-4601-AF9F-DF4F417D9A89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6BA47FB-A6D8-4B11-9CD1-5CB7A17C1EF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CC63048-5117-43BE-AF8A-F2E35B24F645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5F384C62-BA2B-4436-9AAE-616937EB76B7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59778B3-21D4-419E-9CFF-26B8C203CCC3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461A0-4C17-4BB7-BAF2-07508B63B6D0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44B254D-4BA6-4FAE-B78C-48EF9AF181F0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9C5F3A3-918C-485E-9126-80ED9D437032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3A59EE9-CB46-4C47-A3D2-7599DFB2040E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7E3ABB18-67C8-4E10-9660-B246F371916B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8CC82E7-8A36-4941-A18E-FB3C9DFB68B5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B032F6F-913C-45CB-9277-3D87DD21BA0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2DAB6D9C-DC4E-48FC-9383-17D84B61470E}"/>
                </a:ext>
              </a:extLst>
            </p:cNvPr>
            <p:cNvSpPr/>
            <p:nvPr/>
          </p:nvSpPr>
          <p:spPr>
            <a:xfrm>
              <a:off x="1041620" y="980379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8EF0485B-6316-47CB-BD53-A6B7F147B84F}"/>
              </a:ext>
            </a:extLst>
          </p:cNvPr>
          <p:cNvGrpSpPr/>
          <p:nvPr/>
        </p:nvGrpSpPr>
        <p:grpSpPr>
          <a:xfrm>
            <a:off x="1262346" y="1293889"/>
            <a:ext cx="4451312" cy="4451310"/>
            <a:chOff x="2154470" y="585173"/>
            <a:chExt cx="5641271" cy="5641271"/>
          </a:xfrm>
          <a:effectLst/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AC2DE40F-5C83-47EE-83FE-3C4EFFC5AC39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</p:grpSpPr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28D561E5-258A-4123-ACAB-EFF3AF49D376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</p:grpSpPr>
            <p:sp>
              <p:nvSpPr>
                <p:cNvPr id="292" name="Rectangle 80">
                  <a:extLst>
                    <a:ext uri="{FF2B5EF4-FFF2-40B4-BE49-F238E27FC236}">
                      <a16:creationId xmlns:a16="http://schemas.microsoft.com/office/drawing/2014/main" id="{EE683968-58D8-4CDE-8C6E-C776B1A79A12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3" name="Rectangle 81">
                  <a:extLst>
                    <a:ext uri="{FF2B5EF4-FFF2-40B4-BE49-F238E27FC236}">
                      <a16:creationId xmlns:a16="http://schemas.microsoft.com/office/drawing/2014/main" id="{E50FF7FD-AF1E-43AC-AF82-54551E787F41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4" name="Rectangle 82">
                  <a:extLst>
                    <a:ext uri="{FF2B5EF4-FFF2-40B4-BE49-F238E27FC236}">
                      <a16:creationId xmlns:a16="http://schemas.microsoft.com/office/drawing/2014/main" id="{4103FBED-7F78-4FCE-8A6D-E74A55AE24E7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5" name="Rectangle 83">
                  <a:extLst>
                    <a:ext uri="{FF2B5EF4-FFF2-40B4-BE49-F238E27FC236}">
                      <a16:creationId xmlns:a16="http://schemas.microsoft.com/office/drawing/2014/main" id="{8A2A6440-B405-409D-A82A-52AA6AC13E9D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Rectangle 84">
                  <a:extLst>
                    <a:ext uri="{FF2B5EF4-FFF2-40B4-BE49-F238E27FC236}">
                      <a16:creationId xmlns:a16="http://schemas.microsoft.com/office/drawing/2014/main" id="{EC860494-78B1-400C-8BA0-1151E41F455D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7" name="Rectangle 85">
                  <a:extLst>
                    <a:ext uri="{FF2B5EF4-FFF2-40B4-BE49-F238E27FC236}">
                      <a16:creationId xmlns:a16="http://schemas.microsoft.com/office/drawing/2014/main" id="{66434C06-0653-4A24-9BD3-8C8CD6FE85B7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Rectangle 86">
                  <a:extLst>
                    <a:ext uri="{FF2B5EF4-FFF2-40B4-BE49-F238E27FC236}">
                      <a16:creationId xmlns:a16="http://schemas.microsoft.com/office/drawing/2014/main" id="{39D6C104-41E3-47AA-8FCB-077F34FB1F8A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9" name="Rectangle 87">
                  <a:extLst>
                    <a:ext uri="{FF2B5EF4-FFF2-40B4-BE49-F238E27FC236}">
                      <a16:creationId xmlns:a16="http://schemas.microsoft.com/office/drawing/2014/main" id="{AD8AD4A8-C588-4168-8693-F0E358BEAFA4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0" name="Rectangle 88">
                  <a:extLst>
                    <a:ext uri="{FF2B5EF4-FFF2-40B4-BE49-F238E27FC236}">
                      <a16:creationId xmlns:a16="http://schemas.microsoft.com/office/drawing/2014/main" id="{CD6B9561-4F74-4D55-AE75-4EA034B80A59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1" name="Rectangle 89">
                  <a:extLst>
                    <a:ext uri="{FF2B5EF4-FFF2-40B4-BE49-F238E27FC236}">
                      <a16:creationId xmlns:a16="http://schemas.microsoft.com/office/drawing/2014/main" id="{064E8FDA-845B-42C5-B559-3A742E7FAC71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2" name="Rectangle 90">
                  <a:extLst>
                    <a:ext uri="{FF2B5EF4-FFF2-40B4-BE49-F238E27FC236}">
                      <a16:creationId xmlns:a16="http://schemas.microsoft.com/office/drawing/2014/main" id="{DADAC996-3936-4CDF-A6CB-3CDDC773127C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3" name="Rectangle 91">
                  <a:extLst>
                    <a:ext uri="{FF2B5EF4-FFF2-40B4-BE49-F238E27FC236}">
                      <a16:creationId xmlns:a16="http://schemas.microsoft.com/office/drawing/2014/main" id="{DEB43521-0BEC-4EB1-B13A-94BBAF89C61E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4" name="Rectangle 92">
                  <a:extLst>
                    <a:ext uri="{FF2B5EF4-FFF2-40B4-BE49-F238E27FC236}">
                      <a16:creationId xmlns:a16="http://schemas.microsoft.com/office/drawing/2014/main" id="{F3244BEC-CD1E-422E-B30B-24E1261C9368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5" name="Rectangle 93">
                  <a:extLst>
                    <a:ext uri="{FF2B5EF4-FFF2-40B4-BE49-F238E27FC236}">
                      <a16:creationId xmlns:a16="http://schemas.microsoft.com/office/drawing/2014/main" id="{12C6BC75-9263-4940-AB54-90D513C072DB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6" name="Rectangle 94">
                  <a:extLst>
                    <a:ext uri="{FF2B5EF4-FFF2-40B4-BE49-F238E27FC236}">
                      <a16:creationId xmlns:a16="http://schemas.microsoft.com/office/drawing/2014/main" id="{8C376E36-B160-4324-AC54-B9FBDEADB83F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7" name="Rectangle 95">
                  <a:extLst>
                    <a:ext uri="{FF2B5EF4-FFF2-40B4-BE49-F238E27FC236}">
                      <a16:creationId xmlns:a16="http://schemas.microsoft.com/office/drawing/2014/main" id="{B8EAA488-3E51-4C2E-8EAD-462CD3D15D22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8" name="Rectangle 96">
                  <a:extLst>
                    <a:ext uri="{FF2B5EF4-FFF2-40B4-BE49-F238E27FC236}">
                      <a16:creationId xmlns:a16="http://schemas.microsoft.com/office/drawing/2014/main" id="{983F5CFD-7937-47E0-BB9B-B8282B28B064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9" name="Rectangle 97">
                  <a:extLst>
                    <a:ext uri="{FF2B5EF4-FFF2-40B4-BE49-F238E27FC236}">
                      <a16:creationId xmlns:a16="http://schemas.microsoft.com/office/drawing/2014/main" id="{7A724156-94FD-40B7-935C-3866E9C694CF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0" name="Rectangle 98">
                  <a:extLst>
                    <a:ext uri="{FF2B5EF4-FFF2-40B4-BE49-F238E27FC236}">
                      <a16:creationId xmlns:a16="http://schemas.microsoft.com/office/drawing/2014/main" id="{1FDB25A4-A63A-42D8-9C45-E14CEC570E31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1" name="Rectangle 99">
                  <a:extLst>
                    <a:ext uri="{FF2B5EF4-FFF2-40B4-BE49-F238E27FC236}">
                      <a16:creationId xmlns:a16="http://schemas.microsoft.com/office/drawing/2014/main" id="{88E075F3-AE03-4D73-AD08-C2F7B816408F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Rectangle 100">
                  <a:extLst>
                    <a:ext uri="{FF2B5EF4-FFF2-40B4-BE49-F238E27FC236}">
                      <a16:creationId xmlns:a16="http://schemas.microsoft.com/office/drawing/2014/main" id="{1C08D680-0C06-4EFA-8E25-721DF825184F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3" name="Rectangle 101">
                  <a:extLst>
                    <a:ext uri="{FF2B5EF4-FFF2-40B4-BE49-F238E27FC236}">
                      <a16:creationId xmlns:a16="http://schemas.microsoft.com/office/drawing/2014/main" id="{C57ABF66-C507-4306-9766-DEA076E6FCF2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4" name="Rectangle 102">
                  <a:extLst>
                    <a:ext uri="{FF2B5EF4-FFF2-40B4-BE49-F238E27FC236}">
                      <a16:creationId xmlns:a16="http://schemas.microsoft.com/office/drawing/2014/main" id="{B4E2C5E9-5B21-4452-B65A-E396DB498033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5" name="Rectangle 103">
                  <a:extLst>
                    <a:ext uri="{FF2B5EF4-FFF2-40B4-BE49-F238E27FC236}">
                      <a16:creationId xmlns:a16="http://schemas.microsoft.com/office/drawing/2014/main" id="{D2960129-B074-40EB-B1A1-1CFAFE6F7C23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0C15E60E-39C6-4684-AE42-9A077E931443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</p:grpSpPr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AF3D4EBF-7670-498B-A909-C78B155648D5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53F081AF-D26A-45A6-8A8A-A2BE1EA111B3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F459A4EE-F7CF-449E-A108-282D2EFCF7DD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6A45962C-B110-441B-9D03-7618358FD5A4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A945B6E0-C3D1-4690-9959-8F4CEFEB91E4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3F5944D1-E7B1-472A-82C7-CFA13ACA7BFB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42E93AAD-2A4B-4E75-A280-48E9BDAF9C6D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EE98365A-48FC-4045-9CA8-5BA32067953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E79F88B1-374E-4EF1-BC60-50916EACADF8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28D11CE6-3BE0-4EC8-BBF8-6048E4D8EEC2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0439566-25CE-4922-88F2-F8B9DD431B1F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EF0DF8C1-70EB-426E-9066-045E7ECADFD8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C35E3E14-E212-4682-938C-EE14FF7B3CEF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A1C9C705-A412-400A-A281-4A4C17650D6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6701850A-64DE-4848-AD54-BDFEB59EED9C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C23D418F-1A20-4A03-9707-90ADD15DE3E9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C9E6D86D-64B3-47E7-BB7C-F30FB7149671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60681EA8-44EB-4BDD-981D-1278ED758716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19DA99E3-0489-4388-8BF9-3F77979A8F69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2F8E4404-382A-45EC-A405-ACE25E93B100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46B6B3E8-BD8D-4CF0-BC62-466E2D0AD17C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C42A47A3-F6C4-42F5-B30D-4FEF894ABC1A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69578DF4-029D-4C0B-AD2F-7DC0CB3573A2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1F0AB1F4-C5C7-4003-BA8A-9F3D243CB8E0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64" name="Circle: Hollow 263">
              <a:extLst>
                <a:ext uri="{FF2B5EF4-FFF2-40B4-BE49-F238E27FC236}">
                  <a16:creationId xmlns:a16="http://schemas.microsoft.com/office/drawing/2014/main" id="{147B0A70-CA52-4A66-BD4A-95983FD682F1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5" name="Circle: Hollow 264">
              <a:extLst>
                <a:ext uri="{FF2B5EF4-FFF2-40B4-BE49-F238E27FC236}">
                  <a16:creationId xmlns:a16="http://schemas.microsoft.com/office/drawing/2014/main" id="{93A84295-0701-4803-A8A4-7CC35A2B54F6}"/>
                </a:ext>
              </a:extLst>
            </p:cNvPr>
            <p:cNvSpPr/>
            <p:nvPr/>
          </p:nvSpPr>
          <p:spPr>
            <a:xfrm>
              <a:off x="2215784" y="646487"/>
              <a:ext cx="5518642" cy="5518642"/>
            </a:xfrm>
            <a:prstGeom prst="donut">
              <a:avLst>
                <a:gd name="adj" fmla="val 688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8F75B49E-0147-4EE7-A1FF-864A86918FED}"/>
              </a:ext>
            </a:extLst>
          </p:cNvPr>
          <p:cNvGrpSpPr/>
          <p:nvPr/>
        </p:nvGrpSpPr>
        <p:grpSpPr>
          <a:xfrm>
            <a:off x="2018797" y="2050340"/>
            <a:ext cx="2938410" cy="2938408"/>
            <a:chOff x="2551359" y="1949856"/>
            <a:chExt cx="2938410" cy="2938408"/>
          </a:xfrm>
          <a:effectLst/>
        </p:grpSpPr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8B6DE93E-EF3B-4CDC-BF62-1E2B7F6DD9F5}"/>
                </a:ext>
              </a:extLst>
            </p:cNvPr>
            <p:cNvGrpSpPr/>
            <p:nvPr/>
          </p:nvGrpSpPr>
          <p:grpSpPr>
            <a:xfrm>
              <a:off x="2551359" y="1949856"/>
              <a:ext cx="2938410" cy="2938408"/>
              <a:chOff x="1224922" y="598425"/>
              <a:chExt cx="5641271" cy="5641271"/>
            </a:xfrm>
          </p:grpSpPr>
          <p:sp>
            <p:nvSpPr>
              <p:cNvPr id="319" name="Rectangle 318">
                <a:extLst>
                  <a:ext uri="{FF2B5EF4-FFF2-40B4-BE49-F238E27FC236}">
                    <a16:creationId xmlns:a16="http://schemas.microsoft.com/office/drawing/2014/main" id="{CD29EB79-E417-40C2-A4AB-B44B4A562ACA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319">
                <a:extLst>
                  <a:ext uri="{FF2B5EF4-FFF2-40B4-BE49-F238E27FC236}">
                    <a16:creationId xmlns:a16="http://schemas.microsoft.com/office/drawing/2014/main" id="{049F2F69-5F6D-4715-9C51-A60273C01554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41EF09A0-2840-490B-A985-774CD66B805D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2" name="Rectangle 321">
                <a:extLst>
                  <a:ext uri="{FF2B5EF4-FFF2-40B4-BE49-F238E27FC236}">
                    <a16:creationId xmlns:a16="http://schemas.microsoft.com/office/drawing/2014/main" id="{57EAAFB1-8C37-47B9-AFED-E9DB47367003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3A25CC5E-E6E8-4A69-A386-9E7A2578FFB0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49BB8E80-4435-4B3E-96DC-6C44E4D17DFA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5" name="Rectangle 324">
                <a:extLst>
                  <a:ext uri="{FF2B5EF4-FFF2-40B4-BE49-F238E27FC236}">
                    <a16:creationId xmlns:a16="http://schemas.microsoft.com/office/drawing/2014/main" id="{A133B53C-D09E-4F52-985B-22A877B729B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Rectangle 325">
                <a:extLst>
                  <a:ext uri="{FF2B5EF4-FFF2-40B4-BE49-F238E27FC236}">
                    <a16:creationId xmlns:a16="http://schemas.microsoft.com/office/drawing/2014/main" id="{1910E2E4-6AB1-4C35-9EF5-6357DB9531CB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19EEED5D-1466-4943-8E63-7F083FC848E4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8" name="Rectangle 327">
                <a:extLst>
                  <a:ext uri="{FF2B5EF4-FFF2-40B4-BE49-F238E27FC236}">
                    <a16:creationId xmlns:a16="http://schemas.microsoft.com/office/drawing/2014/main" id="{D005903D-46E6-4F38-8FB0-A04DDC6C1231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Rectangle 328">
                <a:extLst>
                  <a:ext uri="{FF2B5EF4-FFF2-40B4-BE49-F238E27FC236}">
                    <a16:creationId xmlns:a16="http://schemas.microsoft.com/office/drawing/2014/main" id="{0B6C7D2F-B444-4935-81D5-A881756BA06A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51F1DF29-5F86-4954-B0DC-8E2FCEE76A67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1" name="Rectangle 330">
                <a:extLst>
                  <a:ext uri="{FF2B5EF4-FFF2-40B4-BE49-F238E27FC236}">
                    <a16:creationId xmlns:a16="http://schemas.microsoft.com/office/drawing/2014/main" id="{15E95714-FFC2-4B55-BB19-B626775556D1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657283F3-3D9C-4EBF-98DD-BFAA6F30F72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8DBC9F9E-3DFF-440E-AC3D-E830A235A041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D90AC8F-B7F0-4DE0-B4C8-4E695C25029F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2D59AD85-C77E-4D44-9899-64A5136BFE1B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717596C3-0278-4DF6-B84F-03A2F6D2A744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8F8B3281-8081-481D-A63B-63AA6129D952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8" name="Rectangle 337">
                <a:extLst>
                  <a:ext uri="{FF2B5EF4-FFF2-40B4-BE49-F238E27FC236}">
                    <a16:creationId xmlns:a16="http://schemas.microsoft.com/office/drawing/2014/main" id="{9A506D71-9019-4725-9DA6-B214B2912106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9" name="Rectangle 338">
                <a:extLst>
                  <a:ext uri="{FF2B5EF4-FFF2-40B4-BE49-F238E27FC236}">
                    <a16:creationId xmlns:a16="http://schemas.microsoft.com/office/drawing/2014/main" id="{3A32BD10-EE54-4701-8035-5A52F2B0D61D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D2A4CBC0-8235-4C1D-85F8-0F61140BC793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C3A2912C-2D13-4094-82E8-F2B4C4F9897C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Rectangle 341">
                <a:extLst>
                  <a:ext uri="{FF2B5EF4-FFF2-40B4-BE49-F238E27FC236}">
                    <a16:creationId xmlns:a16="http://schemas.microsoft.com/office/drawing/2014/main" id="{5490B398-59FC-4FBE-B233-FF9E081A6AD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8" name="Circle: Hollow 317">
              <a:extLst>
                <a:ext uri="{FF2B5EF4-FFF2-40B4-BE49-F238E27FC236}">
                  <a16:creationId xmlns:a16="http://schemas.microsoft.com/office/drawing/2014/main" id="{5361CFC7-93B8-47BC-9400-BF5F474E3E22}"/>
                </a:ext>
              </a:extLst>
            </p:cNvPr>
            <p:cNvSpPr/>
            <p:nvPr/>
          </p:nvSpPr>
          <p:spPr>
            <a:xfrm>
              <a:off x="2750310" y="2148807"/>
              <a:ext cx="2540507" cy="2540505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6B0A2DD9-D480-49E9-AA36-465330FD36C4}"/>
              </a:ext>
            </a:extLst>
          </p:cNvPr>
          <p:cNvGrpSpPr/>
          <p:nvPr/>
        </p:nvGrpSpPr>
        <p:grpSpPr>
          <a:xfrm>
            <a:off x="2328709" y="2360252"/>
            <a:ext cx="2318586" cy="2318584"/>
            <a:chOff x="2154470" y="585173"/>
            <a:chExt cx="5641271" cy="5641271"/>
          </a:xfrm>
          <a:solidFill>
            <a:schemeClr val="accent2">
              <a:lumMod val="50000"/>
            </a:schemeClr>
          </a:solidFill>
          <a:effectLst/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FB0827B9-4C32-4A2B-A4A1-1CB7FF7B3370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  <a:grpFill/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28CFCC16-4787-439F-B81E-5A163392EDD4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  <a:grpFill/>
            </p:grpSpPr>
            <p:sp>
              <p:nvSpPr>
                <p:cNvPr id="373" name="Rectangle 80">
                  <a:extLst>
                    <a:ext uri="{FF2B5EF4-FFF2-40B4-BE49-F238E27FC236}">
                      <a16:creationId xmlns:a16="http://schemas.microsoft.com/office/drawing/2014/main" id="{CBD690E4-AE88-4DBD-AB5F-7B36CABA1FA6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4" name="Rectangle 81">
                  <a:extLst>
                    <a:ext uri="{FF2B5EF4-FFF2-40B4-BE49-F238E27FC236}">
                      <a16:creationId xmlns:a16="http://schemas.microsoft.com/office/drawing/2014/main" id="{CC7E5DAD-6BE6-4172-A2E5-D17991ADBFA8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5" name="Rectangle 82">
                  <a:extLst>
                    <a:ext uri="{FF2B5EF4-FFF2-40B4-BE49-F238E27FC236}">
                      <a16:creationId xmlns:a16="http://schemas.microsoft.com/office/drawing/2014/main" id="{B485CD5B-B65E-4E53-9357-18BBB9E7A3DA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6" name="Rectangle 83">
                  <a:extLst>
                    <a:ext uri="{FF2B5EF4-FFF2-40B4-BE49-F238E27FC236}">
                      <a16:creationId xmlns:a16="http://schemas.microsoft.com/office/drawing/2014/main" id="{3A18313A-4421-4148-BA7A-90FE8F059758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7" name="Rectangle 84">
                  <a:extLst>
                    <a:ext uri="{FF2B5EF4-FFF2-40B4-BE49-F238E27FC236}">
                      <a16:creationId xmlns:a16="http://schemas.microsoft.com/office/drawing/2014/main" id="{2DC1511A-BF68-4E75-A903-C6E476AE1973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8" name="Rectangle 85">
                  <a:extLst>
                    <a:ext uri="{FF2B5EF4-FFF2-40B4-BE49-F238E27FC236}">
                      <a16:creationId xmlns:a16="http://schemas.microsoft.com/office/drawing/2014/main" id="{74502575-71BC-4036-AFA3-B8AFA67BD47F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9" name="Rectangle 86">
                  <a:extLst>
                    <a:ext uri="{FF2B5EF4-FFF2-40B4-BE49-F238E27FC236}">
                      <a16:creationId xmlns:a16="http://schemas.microsoft.com/office/drawing/2014/main" id="{0D2E1A97-1933-46C9-9FF3-0B0AC48AA4AC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0" name="Rectangle 87">
                  <a:extLst>
                    <a:ext uri="{FF2B5EF4-FFF2-40B4-BE49-F238E27FC236}">
                      <a16:creationId xmlns:a16="http://schemas.microsoft.com/office/drawing/2014/main" id="{515EF11A-9281-4117-B15D-C6FEA0D41308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1" name="Rectangle 88">
                  <a:extLst>
                    <a:ext uri="{FF2B5EF4-FFF2-40B4-BE49-F238E27FC236}">
                      <a16:creationId xmlns:a16="http://schemas.microsoft.com/office/drawing/2014/main" id="{48935BC6-C802-44F1-93C8-09BF4EAABDEB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2" name="Rectangle 89">
                  <a:extLst>
                    <a:ext uri="{FF2B5EF4-FFF2-40B4-BE49-F238E27FC236}">
                      <a16:creationId xmlns:a16="http://schemas.microsoft.com/office/drawing/2014/main" id="{88D62032-8795-465C-8D61-B6DAA7F9FB05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3" name="Rectangle 90">
                  <a:extLst>
                    <a:ext uri="{FF2B5EF4-FFF2-40B4-BE49-F238E27FC236}">
                      <a16:creationId xmlns:a16="http://schemas.microsoft.com/office/drawing/2014/main" id="{3DC9683C-3020-41F2-B13A-1223704FE359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4" name="Rectangle 91">
                  <a:extLst>
                    <a:ext uri="{FF2B5EF4-FFF2-40B4-BE49-F238E27FC236}">
                      <a16:creationId xmlns:a16="http://schemas.microsoft.com/office/drawing/2014/main" id="{12D3E660-A8B1-4552-8C2D-DB5865191991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5" name="Rectangle 92">
                  <a:extLst>
                    <a:ext uri="{FF2B5EF4-FFF2-40B4-BE49-F238E27FC236}">
                      <a16:creationId xmlns:a16="http://schemas.microsoft.com/office/drawing/2014/main" id="{A6D76923-E193-4DDE-AA62-B4FEE0A5BAB1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6" name="Rectangle 93">
                  <a:extLst>
                    <a:ext uri="{FF2B5EF4-FFF2-40B4-BE49-F238E27FC236}">
                      <a16:creationId xmlns:a16="http://schemas.microsoft.com/office/drawing/2014/main" id="{9E06B0DE-5B61-4E29-BAB9-722C040E5E59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7" name="Rectangle 94">
                  <a:extLst>
                    <a:ext uri="{FF2B5EF4-FFF2-40B4-BE49-F238E27FC236}">
                      <a16:creationId xmlns:a16="http://schemas.microsoft.com/office/drawing/2014/main" id="{3A9DBEDB-DEC7-4B1A-8D7E-464D8D1D8568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8" name="Rectangle 95">
                  <a:extLst>
                    <a:ext uri="{FF2B5EF4-FFF2-40B4-BE49-F238E27FC236}">
                      <a16:creationId xmlns:a16="http://schemas.microsoft.com/office/drawing/2014/main" id="{8FDECD82-D8DF-4130-805F-F2AF01A0C353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9" name="Rectangle 96">
                  <a:extLst>
                    <a:ext uri="{FF2B5EF4-FFF2-40B4-BE49-F238E27FC236}">
                      <a16:creationId xmlns:a16="http://schemas.microsoft.com/office/drawing/2014/main" id="{C23180AB-A7FF-4C82-AA17-FA17F70A5EA0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0" name="Rectangle 97">
                  <a:extLst>
                    <a:ext uri="{FF2B5EF4-FFF2-40B4-BE49-F238E27FC236}">
                      <a16:creationId xmlns:a16="http://schemas.microsoft.com/office/drawing/2014/main" id="{5A2203B2-3C8F-4F35-A46B-4AD15F37448C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1" name="Rectangle 98">
                  <a:extLst>
                    <a:ext uri="{FF2B5EF4-FFF2-40B4-BE49-F238E27FC236}">
                      <a16:creationId xmlns:a16="http://schemas.microsoft.com/office/drawing/2014/main" id="{2C006030-8500-407F-A5AD-D7B583A5073B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2" name="Rectangle 99">
                  <a:extLst>
                    <a:ext uri="{FF2B5EF4-FFF2-40B4-BE49-F238E27FC236}">
                      <a16:creationId xmlns:a16="http://schemas.microsoft.com/office/drawing/2014/main" id="{BA41CA40-A981-41AF-B2B8-0CE9D672ADF2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3" name="Rectangle 100">
                  <a:extLst>
                    <a:ext uri="{FF2B5EF4-FFF2-40B4-BE49-F238E27FC236}">
                      <a16:creationId xmlns:a16="http://schemas.microsoft.com/office/drawing/2014/main" id="{F2DF6981-F11F-4DC1-96A0-269219D41A51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4" name="Rectangle 101">
                  <a:extLst>
                    <a:ext uri="{FF2B5EF4-FFF2-40B4-BE49-F238E27FC236}">
                      <a16:creationId xmlns:a16="http://schemas.microsoft.com/office/drawing/2014/main" id="{2070EB8E-C031-472D-B27C-25C0187802E8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5" name="Rectangle 102">
                  <a:extLst>
                    <a:ext uri="{FF2B5EF4-FFF2-40B4-BE49-F238E27FC236}">
                      <a16:creationId xmlns:a16="http://schemas.microsoft.com/office/drawing/2014/main" id="{D09F619D-98B8-4617-BE92-50F7433B82A6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6" name="Rectangle 103">
                  <a:extLst>
                    <a:ext uri="{FF2B5EF4-FFF2-40B4-BE49-F238E27FC236}">
                      <a16:creationId xmlns:a16="http://schemas.microsoft.com/office/drawing/2014/main" id="{9F778E1D-12E8-4DE7-A216-633B080E33C7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8E3FEF1-66FB-4D3E-8C91-6C5CC7CD276E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  <a:grpFill/>
            </p:grpSpPr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F3398C0F-5202-4306-BF68-3DE3910C5DD8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04D23447-7355-4631-814C-4CBFDA13E968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FEC22F0E-8185-4AB2-9815-B3D8B8DC08F2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E8F438B2-0D1E-43B2-9F9E-DC318BA09109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65E726E6-02B6-47D9-8650-F7CC4196AD3E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4A027513-B863-4E3A-98F8-0CAF4EBE055F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598BA572-D7B8-4F6C-94B4-B30F41C135DE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2DC4A1D7-6794-4A06-A118-136963D06A4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56D97B37-2BE6-4649-81A4-447306C8F174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5D7349F8-6D97-46A3-BB9E-3EF4721F15E4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023D2CF4-8D04-4CD3-B0C6-32F27EF52B74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FFC43EAD-DD84-4932-9F92-6F6D232FB463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94B465E1-BA65-460B-8624-B01F33230C27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6D4A5C95-F064-4EE6-863C-075152EB61B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AED73AA9-3F2D-4415-8FDC-EB56FA514B3B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D9831BD8-580B-42D2-AE95-58458337AE0F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55CE90B6-568D-4DC1-A7D8-97A57950A7A4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25092D40-8F64-4481-BE6C-9B1A5442BAAA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9829E0F5-3057-493E-94E2-537A3B35971D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9C3FDF29-4177-446D-B87C-FA1892F2D9B1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80DD1EDF-8C22-4919-B784-81E9756B3831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F8A20935-667F-424C-B933-8D38B6714E68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58D38FA2-C45C-4BCE-B5CE-B5D73F77382E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37C85F78-F434-4786-9863-C0710AE7AD2E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345" name="Circle: Hollow 344">
              <a:extLst>
                <a:ext uri="{FF2B5EF4-FFF2-40B4-BE49-F238E27FC236}">
                  <a16:creationId xmlns:a16="http://schemas.microsoft.com/office/drawing/2014/main" id="{0F7EBE6B-8668-4279-9F91-87D9A02440EB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6" name="Circle: Hollow 345">
              <a:extLst>
                <a:ext uri="{FF2B5EF4-FFF2-40B4-BE49-F238E27FC236}">
                  <a16:creationId xmlns:a16="http://schemas.microsoft.com/office/drawing/2014/main" id="{341D0121-11B9-467A-B811-15986868094E}"/>
                </a:ext>
              </a:extLst>
            </p:cNvPr>
            <p:cNvSpPr/>
            <p:nvPr/>
          </p:nvSpPr>
          <p:spPr>
            <a:xfrm>
              <a:off x="2215784" y="646486"/>
              <a:ext cx="5518642" cy="5518642"/>
            </a:xfrm>
            <a:prstGeom prst="donut">
              <a:avLst>
                <a:gd name="adj" fmla="val 688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A16F3319-95A7-447F-A9A0-BE7E5C298DB8}"/>
              </a:ext>
            </a:extLst>
          </p:cNvPr>
          <p:cNvSpPr/>
          <p:nvPr/>
        </p:nvSpPr>
        <p:spPr>
          <a:xfrm>
            <a:off x="-4326052" y="-4129072"/>
            <a:ext cx="15297232" cy="15297232"/>
          </a:xfrm>
          <a:custGeom>
            <a:avLst/>
            <a:gdLst>
              <a:gd name="connsiteX0" fmla="*/ 1919859 w 4865986"/>
              <a:gd name="connsiteY0" fmla="*/ 4783256 h 4865986"/>
              <a:gd name="connsiteX1" fmla="*/ 1948021 w 4865986"/>
              <a:gd name="connsiteY1" fmla="*/ 4790497 h 4865986"/>
              <a:gd name="connsiteX2" fmla="*/ 2186953 w 4865986"/>
              <a:gd name="connsiteY2" fmla="*/ 4826962 h 4865986"/>
              <a:gd name="connsiteX3" fmla="*/ 2320351 w 4865986"/>
              <a:gd name="connsiteY3" fmla="*/ 4833698 h 4865986"/>
              <a:gd name="connsiteX4" fmla="*/ 2320351 w 4865986"/>
              <a:gd name="connsiteY4" fmla="*/ 4865986 h 4865986"/>
              <a:gd name="connsiteX5" fmla="*/ 2183652 w 4865986"/>
              <a:gd name="connsiteY5" fmla="*/ 4859084 h 4865986"/>
              <a:gd name="connsiteX6" fmla="*/ 1941514 w 4865986"/>
              <a:gd name="connsiteY6" fmla="*/ 4822129 h 4865986"/>
              <a:gd name="connsiteX7" fmla="*/ 1911510 w 4865986"/>
              <a:gd name="connsiteY7" fmla="*/ 4814414 h 4865986"/>
              <a:gd name="connsiteX8" fmla="*/ 2946131 w 4865986"/>
              <a:gd name="connsiteY8" fmla="*/ 4783255 h 4865986"/>
              <a:gd name="connsiteX9" fmla="*/ 2954480 w 4865986"/>
              <a:gd name="connsiteY9" fmla="*/ 4814413 h 4865986"/>
              <a:gd name="connsiteX10" fmla="*/ 2924472 w 4865986"/>
              <a:gd name="connsiteY10" fmla="*/ 4822129 h 4865986"/>
              <a:gd name="connsiteX11" fmla="*/ 2682334 w 4865986"/>
              <a:gd name="connsiteY11" fmla="*/ 4859084 h 4865986"/>
              <a:gd name="connsiteX12" fmla="*/ 2545637 w 4865986"/>
              <a:gd name="connsiteY12" fmla="*/ 4865986 h 4865986"/>
              <a:gd name="connsiteX13" fmla="*/ 2545637 w 4865986"/>
              <a:gd name="connsiteY13" fmla="*/ 4833698 h 4865986"/>
              <a:gd name="connsiteX14" fmla="*/ 2679033 w 4865986"/>
              <a:gd name="connsiteY14" fmla="*/ 4826962 h 4865986"/>
              <a:gd name="connsiteX15" fmla="*/ 2917965 w 4865986"/>
              <a:gd name="connsiteY15" fmla="*/ 4790497 h 4865986"/>
              <a:gd name="connsiteX16" fmla="*/ 1329348 w 4865986"/>
              <a:gd name="connsiteY16" fmla="*/ 4569847 h 4865986"/>
              <a:gd name="connsiteX17" fmla="*/ 1496317 w 4865986"/>
              <a:gd name="connsiteY17" fmla="*/ 4650280 h 4865986"/>
              <a:gd name="connsiteX18" fmla="*/ 1702077 w 4865986"/>
              <a:gd name="connsiteY18" fmla="*/ 4725589 h 4865986"/>
              <a:gd name="connsiteX19" fmla="*/ 1693695 w 4865986"/>
              <a:gd name="connsiteY19" fmla="*/ 4756872 h 4865986"/>
              <a:gd name="connsiteX20" fmla="*/ 1483749 w 4865986"/>
              <a:gd name="connsiteY20" fmla="*/ 4680031 h 4865986"/>
              <a:gd name="connsiteX21" fmla="*/ 1313174 w 4865986"/>
              <a:gd name="connsiteY21" fmla="*/ 4597861 h 4865986"/>
              <a:gd name="connsiteX22" fmla="*/ 3536644 w 4865986"/>
              <a:gd name="connsiteY22" fmla="*/ 4569844 h 4865986"/>
              <a:gd name="connsiteX23" fmla="*/ 3552818 w 4865986"/>
              <a:gd name="connsiteY23" fmla="*/ 4597858 h 4865986"/>
              <a:gd name="connsiteX24" fmla="*/ 3382238 w 4865986"/>
              <a:gd name="connsiteY24" fmla="*/ 4680031 h 4865986"/>
              <a:gd name="connsiteX25" fmla="*/ 3172295 w 4865986"/>
              <a:gd name="connsiteY25" fmla="*/ 4756870 h 4865986"/>
              <a:gd name="connsiteX26" fmla="*/ 3163913 w 4865986"/>
              <a:gd name="connsiteY26" fmla="*/ 4725588 h 4865986"/>
              <a:gd name="connsiteX27" fmla="*/ 3369670 w 4865986"/>
              <a:gd name="connsiteY27" fmla="*/ 4650280 h 4865986"/>
              <a:gd name="connsiteX28" fmla="*/ 814868 w 4865986"/>
              <a:gd name="connsiteY28" fmla="*/ 4210416 h 4865986"/>
              <a:gd name="connsiteX29" fmla="*/ 902304 w 4865986"/>
              <a:gd name="connsiteY29" fmla="*/ 4289883 h 4865986"/>
              <a:gd name="connsiteX30" fmla="*/ 1087556 w 4865986"/>
              <a:gd name="connsiteY30" fmla="*/ 4428412 h 4865986"/>
              <a:gd name="connsiteX31" fmla="*/ 1134427 w 4865986"/>
              <a:gd name="connsiteY31" fmla="*/ 4456887 h 4865986"/>
              <a:gd name="connsiteX32" fmla="*/ 1118296 w 4865986"/>
              <a:gd name="connsiteY32" fmla="*/ 4484828 h 4865986"/>
              <a:gd name="connsiteX33" fmla="*/ 1069504 w 4865986"/>
              <a:gd name="connsiteY33" fmla="*/ 4455186 h 4865986"/>
              <a:gd name="connsiteX34" fmla="*/ 881766 w 4865986"/>
              <a:gd name="connsiteY34" fmla="*/ 4314798 h 4865986"/>
              <a:gd name="connsiteX35" fmla="*/ 792037 w 4865986"/>
              <a:gd name="connsiteY35" fmla="*/ 4233247 h 4865986"/>
              <a:gd name="connsiteX36" fmla="*/ 4051123 w 4865986"/>
              <a:gd name="connsiteY36" fmla="*/ 4210412 h 4865986"/>
              <a:gd name="connsiteX37" fmla="*/ 4073954 w 4865986"/>
              <a:gd name="connsiteY37" fmla="*/ 4233243 h 4865986"/>
              <a:gd name="connsiteX38" fmla="*/ 3984220 w 4865986"/>
              <a:gd name="connsiteY38" fmla="*/ 4314798 h 4865986"/>
              <a:gd name="connsiteX39" fmla="*/ 3796483 w 4865986"/>
              <a:gd name="connsiteY39" fmla="*/ 4455186 h 4865986"/>
              <a:gd name="connsiteX40" fmla="*/ 3747695 w 4865986"/>
              <a:gd name="connsiteY40" fmla="*/ 4484825 h 4865986"/>
              <a:gd name="connsiteX41" fmla="*/ 3731564 w 4865986"/>
              <a:gd name="connsiteY41" fmla="*/ 4456884 h 4865986"/>
              <a:gd name="connsiteX42" fmla="*/ 3778430 w 4865986"/>
              <a:gd name="connsiteY42" fmla="*/ 4428412 h 4865986"/>
              <a:gd name="connsiteX43" fmla="*/ 3963682 w 4865986"/>
              <a:gd name="connsiteY43" fmla="*/ 4289883 h 4865986"/>
              <a:gd name="connsiteX44" fmla="*/ 409097 w 4865986"/>
              <a:gd name="connsiteY44" fmla="*/ 3731554 h 4865986"/>
              <a:gd name="connsiteX45" fmla="*/ 437575 w 4865986"/>
              <a:gd name="connsiteY45" fmla="*/ 3778430 h 4865986"/>
              <a:gd name="connsiteX46" fmla="*/ 576104 w 4865986"/>
              <a:gd name="connsiteY46" fmla="*/ 3963683 h 4865986"/>
              <a:gd name="connsiteX47" fmla="*/ 655567 w 4865986"/>
              <a:gd name="connsiteY47" fmla="*/ 4051114 h 4865986"/>
              <a:gd name="connsiteX48" fmla="*/ 632736 w 4865986"/>
              <a:gd name="connsiteY48" fmla="*/ 4073945 h 4865986"/>
              <a:gd name="connsiteX49" fmla="*/ 551189 w 4865986"/>
              <a:gd name="connsiteY49" fmla="*/ 3984221 h 4865986"/>
              <a:gd name="connsiteX50" fmla="*/ 410801 w 4865986"/>
              <a:gd name="connsiteY50" fmla="*/ 3796483 h 4865986"/>
              <a:gd name="connsiteX51" fmla="*/ 381156 w 4865986"/>
              <a:gd name="connsiteY51" fmla="*/ 3747686 h 4865986"/>
              <a:gd name="connsiteX52" fmla="*/ 4456892 w 4865986"/>
              <a:gd name="connsiteY52" fmla="*/ 3731551 h 4865986"/>
              <a:gd name="connsiteX53" fmla="*/ 4484833 w 4865986"/>
              <a:gd name="connsiteY53" fmla="*/ 3747682 h 4865986"/>
              <a:gd name="connsiteX54" fmla="*/ 4455186 w 4865986"/>
              <a:gd name="connsiteY54" fmla="*/ 3796483 h 4865986"/>
              <a:gd name="connsiteX55" fmla="*/ 4314798 w 4865986"/>
              <a:gd name="connsiteY55" fmla="*/ 3984221 h 4865986"/>
              <a:gd name="connsiteX56" fmla="*/ 4233254 w 4865986"/>
              <a:gd name="connsiteY56" fmla="*/ 4073942 h 4865986"/>
              <a:gd name="connsiteX57" fmla="*/ 4210423 w 4865986"/>
              <a:gd name="connsiteY57" fmla="*/ 4051111 h 4865986"/>
              <a:gd name="connsiteX58" fmla="*/ 4289883 w 4865986"/>
              <a:gd name="connsiteY58" fmla="*/ 3963683 h 4865986"/>
              <a:gd name="connsiteX59" fmla="*/ 4428412 w 4865986"/>
              <a:gd name="connsiteY59" fmla="*/ 3778430 h 4865986"/>
              <a:gd name="connsiteX60" fmla="*/ 140395 w 4865986"/>
              <a:gd name="connsiteY60" fmla="*/ 3163903 h 4865986"/>
              <a:gd name="connsiteX61" fmla="*/ 215707 w 4865986"/>
              <a:gd name="connsiteY61" fmla="*/ 3369670 h 4865986"/>
              <a:gd name="connsiteX62" fmla="*/ 296137 w 4865986"/>
              <a:gd name="connsiteY62" fmla="*/ 3536634 h 4865986"/>
              <a:gd name="connsiteX63" fmla="*/ 268124 w 4865986"/>
              <a:gd name="connsiteY63" fmla="*/ 3552807 h 4865986"/>
              <a:gd name="connsiteX64" fmla="*/ 185956 w 4865986"/>
              <a:gd name="connsiteY64" fmla="*/ 3382238 h 4865986"/>
              <a:gd name="connsiteX65" fmla="*/ 109112 w 4865986"/>
              <a:gd name="connsiteY65" fmla="*/ 3172285 h 4865986"/>
              <a:gd name="connsiteX66" fmla="*/ 4725592 w 4865986"/>
              <a:gd name="connsiteY66" fmla="*/ 3163901 h 4865986"/>
              <a:gd name="connsiteX67" fmla="*/ 4756875 w 4865986"/>
              <a:gd name="connsiteY67" fmla="*/ 3172283 h 4865986"/>
              <a:gd name="connsiteX68" fmla="*/ 4680030 w 4865986"/>
              <a:gd name="connsiteY68" fmla="*/ 3382238 h 4865986"/>
              <a:gd name="connsiteX69" fmla="*/ 4597865 w 4865986"/>
              <a:gd name="connsiteY69" fmla="*/ 3552803 h 4865986"/>
              <a:gd name="connsiteX70" fmla="*/ 4569851 w 4865986"/>
              <a:gd name="connsiteY70" fmla="*/ 3536629 h 4865986"/>
              <a:gd name="connsiteX71" fmla="*/ 4650280 w 4865986"/>
              <a:gd name="connsiteY71" fmla="*/ 3369670 h 4865986"/>
              <a:gd name="connsiteX72" fmla="*/ 32288 w 4865986"/>
              <a:gd name="connsiteY72" fmla="*/ 2545628 h 4865986"/>
              <a:gd name="connsiteX73" fmla="*/ 39024 w 4865986"/>
              <a:gd name="connsiteY73" fmla="*/ 2679033 h 4865986"/>
              <a:gd name="connsiteX74" fmla="*/ 75490 w 4865986"/>
              <a:gd name="connsiteY74" fmla="*/ 2917965 h 4865986"/>
              <a:gd name="connsiteX75" fmla="*/ 82729 w 4865986"/>
              <a:gd name="connsiteY75" fmla="*/ 2946121 h 4865986"/>
              <a:gd name="connsiteX76" fmla="*/ 51571 w 4865986"/>
              <a:gd name="connsiteY76" fmla="*/ 2954470 h 4865986"/>
              <a:gd name="connsiteX77" fmla="*/ 43858 w 4865986"/>
              <a:gd name="connsiteY77" fmla="*/ 2924472 h 4865986"/>
              <a:gd name="connsiteX78" fmla="*/ 6903 w 4865986"/>
              <a:gd name="connsiteY78" fmla="*/ 2682334 h 4865986"/>
              <a:gd name="connsiteX79" fmla="*/ 0 w 4865986"/>
              <a:gd name="connsiteY79" fmla="*/ 2545628 h 4865986"/>
              <a:gd name="connsiteX80" fmla="*/ 4865986 w 4865986"/>
              <a:gd name="connsiteY80" fmla="*/ 2545628 h 4865986"/>
              <a:gd name="connsiteX81" fmla="*/ 4859083 w 4865986"/>
              <a:gd name="connsiteY81" fmla="*/ 2682334 h 4865986"/>
              <a:gd name="connsiteX82" fmla="*/ 4822129 w 4865986"/>
              <a:gd name="connsiteY82" fmla="*/ 2924472 h 4865986"/>
              <a:gd name="connsiteX83" fmla="*/ 4814416 w 4865986"/>
              <a:gd name="connsiteY83" fmla="*/ 2954468 h 4865986"/>
              <a:gd name="connsiteX84" fmla="*/ 4783258 w 4865986"/>
              <a:gd name="connsiteY84" fmla="*/ 2946119 h 4865986"/>
              <a:gd name="connsiteX85" fmla="*/ 4790497 w 4865986"/>
              <a:gd name="connsiteY85" fmla="*/ 2917965 h 4865986"/>
              <a:gd name="connsiteX86" fmla="*/ 4826962 w 4865986"/>
              <a:gd name="connsiteY86" fmla="*/ 2679033 h 4865986"/>
              <a:gd name="connsiteX87" fmla="*/ 4833698 w 4865986"/>
              <a:gd name="connsiteY87" fmla="*/ 2545628 h 4865986"/>
              <a:gd name="connsiteX88" fmla="*/ 4814412 w 4865986"/>
              <a:gd name="connsiteY88" fmla="*/ 1911504 h 4865986"/>
              <a:gd name="connsiteX89" fmla="*/ 4822129 w 4865986"/>
              <a:gd name="connsiteY89" fmla="*/ 1941514 h 4865986"/>
              <a:gd name="connsiteX90" fmla="*/ 4859083 w 4865986"/>
              <a:gd name="connsiteY90" fmla="*/ 2183652 h 4865986"/>
              <a:gd name="connsiteX91" fmla="*/ 4865986 w 4865986"/>
              <a:gd name="connsiteY91" fmla="*/ 2320343 h 4865986"/>
              <a:gd name="connsiteX92" fmla="*/ 4833698 w 4865986"/>
              <a:gd name="connsiteY92" fmla="*/ 2320343 h 4865986"/>
              <a:gd name="connsiteX93" fmla="*/ 4826962 w 4865986"/>
              <a:gd name="connsiteY93" fmla="*/ 2186953 h 4865986"/>
              <a:gd name="connsiteX94" fmla="*/ 4790497 w 4865986"/>
              <a:gd name="connsiteY94" fmla="*/ 1948021 h 4865986"/>
              <a:gd name="connsiteX95" fmla="*/ 4783254 w 4865986"/>
              <a:gd name="connsiteY95" fmla="*/ 1919852 h 4865986"/>
              <a:gd name="connsiteX96" fmla="*/ 51575 w 4865986"/>
              <a:gd name="connsiteY96" fmla="*/ 1911501 h 4865986"/>
              <a:gd name="connsiteX97" fmla="*/ 82733 w 4865986"/>
              <a:gd name="connsiteY97" fmla="*/ 1919850 h 4865986"/>
              <a:gd name="connsiteX98" fmla="*/ 75490 w 4865986"/>
              <a:gd name="connsiteY98" fmla="*/ 1948021 h 4865986"/>
              <a:gd name="connsiteX99" fmla="*/ 39024 w 4865986"/>
              <a:gd name="connsiteY99" fmla="*/ 2186953 h 4865986"/>
              <a:gd name="connsiteX100" fmla="*/ 32289 w 4865986"/>
              <a:gd name="connsiteY100" fmla="*/ 2320342 h 4865986"/>
              <a:gd name="connsiteX101" fmla="*/ 1 w 4865986"/>
              <a:gd name="connsiteY101" fmla="*/ 2320342 h 4865986"/>
              <a:gd name="connsiteX102" fmla="*/ 6903 w 4865986"/>
              <a:gd name="connsiteY102" fmla="*/ 2183652 h 4865986"/>
              <a:gd name="connsiteX103" fmla="*/ 43858 w 4865986"/>
              <a:gd name="connsiteY103" fmla="*/ 1941514 h 4865986"/>
              <a:gd name="connsiteX104" fmla="*/ 4597859 w 4865986"/>
              <a:gd name="connsiteY104" fmla="*/ 1313171 h 4865986"/>
              <a:gd name="connsiteX105" fmla="*/ 4680030 w 4865986"/>
              <a:gd name="connsiteY105" fmla="*/ 1483749 h 4865986"/>
              <a:gd name="connsiteX106" fmla="*/ 4756869 w 4865986"/>
              <a:gd name="connsiteY106" fmla="*/ 1693689 h 4865986"/>
              <a:gd name="connsiteX107" fmla="*/ 4725587 w 4865986"/>
              <a:gd name="connsiteY107" fmla="*/ 1702071 h 4865986"/>
              <a:gd name="connsiteX108" fmla="*/ 4650280 w 4865986"/>
              <a:gd name="connsiteY108" fmla="*/ 1496316 h 4865986"/>
              <a:gd name="connsiteX109" fmla="*/ 4569845 w 4865986"/>
              <a:gd name="connsiteY109" fmla="*/ 1329345 h 4865986"/>
              <a:gd name="connsiteX110" fmla="*/ 268129 w 4865986"/>
              <a:gd name="connsiteY110" fmla="*/ 1313167 h 4865986"/>
              <a:gd name="connsiteX111" fmla="*/ 296143 w 4865986"/>
              <a:gd name="connsiteY111" fmla="*/ 1329341 h 4865986"/>
              <a:gd name="connsiteX112" fmla="*/ 215707 w 4865986"/>
              <a:gd name="connsiteY112" fmla="*/ 1496316 h 4865986"/>
              <a:gd name="connsiteX113" fmla="*/ 140400 w 4865986"/>
              <a:gd name="connsiteY113" fmla="*/ 1702069 h 4865986"/>
              <a:gd name="connsiteX114" fmla="*/ 109118 w 4865986"/>
              <a:gd name="connsiteY114" fmla="*/ 1693687 h 4865986"/>
              <a:gd name="connsiteX115" fmla="*/ 185956 w 4865986"/>
              <a:gd name="connsiteY115" fmla="*/ 1483749 h 4865986"/>
              <a:gd name="connsiteX116" fmla="*/ 4233247 w 4865986"/>
              <a:gd name="connsiteY116" fmla="*/ 792037 h 4865986"/>
              <a:gd name="connsiteX117" fmla="*/ 4314798 w 4865986"/>
              <a:gd name="connsiteY117" fmla="*/ 881766 h 4865986"/>
              <a:gd name="connsiteX118" fmla="*/ 4455186 w 4865986"/>
              <a:gd name="connsiteY118" fmla="*/ 1069504 h 4865986"/>
              <a:gd name="connsiteX119" fmla="*/ 4484826 w 4865986"/>
              <a:gd name="connsiteY119" fmla="*/ 1118293 h 4865986"/>
              <a:gd name="connsiteX120" fmla="*/ 4456885 w 4865986"/>
              <a:gd name="connsiteY120" fmla="*/ 1134425 h 4865986"/>
              <a:gd name="connsiteX121" fmla="*/ 4428412 w 4865986"/>
              <a:gd name="connsiteY121" fmla="*/ 1087556 h 4865986"/>
              <a:gd name="connsiteX122" fmla="*/ 4289883 w 4865986"/>
              <a:gd name="connsiteY122" fmla="*/ 902304 h 4865986"/>
              <a:gd name="connsiteX123" fmla="*/ 4210416 w 4865986"/>
              <a:gd name="connsiteY123" fmla="*/ 814868 h 4865986"/>
              <a:gd name="connsiteX124" fmla="*/ 632743 w 4865986"/>
              <a:gd name="connsiteY124" fmla="*/ 792033 h 4865986"/>
              <a:gd name="connsiteX125" fmla="*/ 655574 w 4865986"/>
              <a:gd name="connsiteY125" fmla="*/ 814864 h 4865986"/>
              <a:gd name="connsiteX126" fmla="*/ 576104 w 4865986"/>
              <a:gd name="connsiteY126" fmla="*/ 902304 h 4865986"/>
              <a:gd name="connsiteX127" fmla="*/ 437575 w 4865986"/>
              <a:gd name="connsiteY127" fmla="*/ 1087556 h 4865986"/>
              <a:gd name="connsiteX128" fmla="*/ 409103 w 4865986"/>
              <a:gd name="connsiteY128" fmla="*/ 1134421 h 4865986"/>
              <a:gd name="connsiteX129" fmla="*/ 381163 w 4865986"/>
              <a:gd name="connsiteY129" fmla="*/ 1118290 h 4865986"/>
              <a:gd name="connsiteX130" fmla="*/ 410801 w 4865986"/>
              <a:gd name="connsiteY130" fmla="*/ 1069504 h 4865986"/>
              <a:gd name="connsiteX131" fmla="*/ 551189 w 4865986"/>
              <a:gd name="connsiteY131" fmla="*/ 881766 h 4865986"/>
              <a:gd name="connsiteX132" fmla="*/ 3747689 w 4865986"/>
              <a:gd name="connsiteY132" fmla="*/ 381158 h 4865986"/>
              <a:gd name="connsiteX133" fmla="*/ 3796483 w 4865986"/>
              <a:gd name="connsiteY133" fmla="*/ 410801 h 4865986"/>
              <a:gd name="connsiteX134" fmla="*/ 3984220 w 4865986"/>
              <a:gd name="connsiteY134" fmla="*/ 551188 h 4865986"/>
              <a:gd name="connsiteX135" fmla="*/ 4073946 w 4865986"/>
              <a:gd name="connsiteY135" fmla="*/ 632736 h 4865986"/>
              <a:gd name="connsiteX136" fmla="*/ 4051115 w 4865986"/>
              <a:gd name="connsiteY136" fmla="*/ 655567 h 4865986"/>
              <a:gd name="connsiteX137" fmla="*/ 3963682 w 4865986"/>
              <a:gd name="connsiteY137" fmla="*/ 576103 h 4865986"/>
              <a:gd name="connsiteX138" fmla="*/ 3778430 w 4865986"/>
              <a:gd name="connsiteY138" fmla="*/ 437574 h 4865986"/>
              <a:gd name="connsiteX139" fmla="*/ 3731557 w 4865986"/>
              <a:gd name="connsiteY139" fmla="*/ 409098 h 4865986"/>
              <a:gd name="connsiteX140" fmla="*/ 1118303 w 4865986"/>
              <a:gd name="connsiteY140" fmla="*/ 381155 h 4865986"/>
              <a:gd name="connsiteX141" fmla="*/ 1134434 w 4865986"/>
              <a:gd name="connsiteY141" fmla="*/ 409095 h 4865986"/>
              <a:gd name="connsiteX142" fmla="*/ 1087556 w 4865986"/>
              <a:gd name="connsiteY142" fmla="*/ 437574 h 4865986"/>
              <a:gd name="connsiteX143" fmla="*/ 902304 w 4865986"/>
              <a:gd name="connsiteY143" fmla="*/ 576103 h 4865986"/>
              <a:gd name="connsiteX144" fmla="*/ 814876 w 4865986"/>
              <a:gd name="connsiteY144" fmla="*/ 655563 h 4865986"/>
              <a:gd name="connsiteX145" fmla="*/ 792045 w 4865986"/>
              <a:gd name="connsiteY145" fmla="*/ 632732 h 4865986"/>
              <a:gd name="connsiteX146" fmla="*/ 881766 w 4865986"/>
              <a:gd name="connsiteY146" fmla="*/ 551188 h 4865986"/>
              <a:gd name="connsiteX147" fmla="*/ 1069504 w 4865986"/>
              <a:gd name="connsiteY147" fmla="*/ 410801 h 4865986"/>
              <a:gd name="connsiteX148" fmla="*/ 3172291 w 4865986"/>
              <a:gd name="connsiteY148" fmla="*/ 109114 h 4865986"/>
              <a:gd name="connsiteX149" fmla="*/ 3382238 w 4865986"/>
              <a:gd name="connsiteY149" fmla="*/ 185956 h 4865986"/>
              <a:gd name="connsiteX150" fmla="*/ 3552811 w 4865986"/>
              <a:gd name="connsiteY150" fmla="*/ 268125 h 4865986"/>
              <a:gd name="connsiteX151" fmla="*/ 3536637 w 4865986"/>
              <a:gd name="connsiteY151" fmla="*/ 296139 h 4865986"/>
              <a:gd name="connsiteX152" fmla="*/ 3369670 w 4865986"/>
              <a:gd name="connsiteY152" fmla="*/ 215706 h 4865986"/>
              <a:gd name="connsiteX153" fmla="*/ 3163909 w 4865986"/>
              <a:gd name="connsiteY153" fmla="*/ 140397 h 4865986"/>
              <a:gd name="connsiteX154" fmla="*/ 1693699 w 4865986"/>
              <a:gd name="connsiteY154" fmla="*/ 109113 h 4865986"/>
              <a:gd name="connsiteX155" fmla="*/ 1702081 w 4865986"/>
              <a:gd name="connsiteY155" fmla="*/ 140396 h 4865986"/>
              <a:gd name="connsiteX156" fmla="*/ 1496317 w 4865986"/>
              <a:gd name="connsiteY156" fmla="*/ 215706 h 4865986"/>
              <a:gd name="connsiteX157" fmla="*/ 1329355 w 4865986"/>
              <a:gd name="connsiteY157" fmla="*/ 296136 h 4865986"/>
              <a:gd name="connsiteX158" fmla="*/ 1313181 w 4865986"/>
              <a:gd name="connsiteY158" fmla="*/ 268123 h 4865986"/>
              <a:gd name="connsiteX159" fmla="*/ 1483749 w 4865986"/>
              <a:gd name="connsiteY159" fmla="*/ 185956 h 4865986"/>
              <a:gd name="connsiteX160" fmla="*/ 2545637 w 4865986"/>
              <a:gd name="connsiteY160" fmla="*/ 0 h 4865986"/>
              <a:gd name="connsiteX161" fmla="*/ 2682334 w 4865986"/>
              <a:gd name="connsiteY161" fmla="*/ 6903 h 4865986"/>
              <a:gd name="connsiteX162" fmla="*/ 2924472 w 4865986"/>
              <a:gd name="connsiteY162" fmla="*/ 43857 h 4865986"/>
              <a:gd name="connsiteX163" fmla="*/ 2954476 w 4865986"/>
              <a:gd name="connsiteY163" fmla="*/ 51572 h 4865986"/>
              <a:gd name="connsiteX164" fmla="*/ 2946127 w 4865986"/>
              <a:gd name="connsiteY164" fmla="*/ 82731 h 4865986"/>
              <a:gd name="connsiteX165" fmla="*/ 2917965 w 4865986"/>
              <a:gd name="connsiteY165" fmla="*/ 75490 h 4865986"/>
              <a:gd name="connsiteX166" fmla="*/ 2679033 w 4865986"/>
              <a:gd name="connsiteY166" fmla="*/ 39024 h 4865986"/>
              <a:gd name="connsiteX167" fmla="*/ 2545637 w 4865986"/>
              <a:gd name="connsiteY167" fmla="*/ 32288 h 4865986"/>
              <a:gd name="connsiteX168" fmla="*/ 2320350 w 4865986"/>
              <a:gd name="connsiteY168" fmla="*/ 0 h 4865986"/>
              <a:gd name="connsiteX169" fmla="*/ 2320350 w 4865986"/>
              <a:gd name="connsiteY169" fmla="*/ 32288 h 4865986"/>
              <a:gd name="connsiteX170" fmla="*/ 2186953 w 4865986"/>
              <a:gd name="connsiteY170" fmla="*/ 39024 h 4865986"/>
              <a:gd name="connsiteX171" fmla="*/ 1948021 w 4865986"/>
              <a:gd name="connsiteY171" fmla="*/ 75490 h 4865986"/>
              <a:gd name="connsiteX172" fmla="*/ 1919863 w 4865986"/>
              <a:gd name="connsiteY172" fmla="*/ 82730 h 4865986"/>
              <a:gd name="connsiteX173" fmla="*/ 1911514 w 4865986"/>
              <a:gd name="connsiteY173" fmla="*/ 51571 h 4865986"/>
              <a:gd name="connsiteX174" fmla="*/ 1941514 w 4865986"/>
              <a:gd name="connsiteY174" fmla="*/ 43857 h 4865986"/>
              <a:gd name="connsiteX175" fmla="*/ 2183652 w 4865986"/>
              <a:gd name="connsiteY175" fmla="*/ 6903 h 486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865986" h="4865986">
                <a:moveTo>
                  <a:pt x="1919859" y="4783256"/>
                </a:moveTo>
                <a:lnTo>
                  <a:pt x="1948021" y="4790497"/>
                </a:lnTo>
                <a:cubicBezTo>
                  <a:pt x="2026346" y="4806525"/>
                  <a:pt x="2106058" y="4818747"/>
                  <a:pt x="2186953" y="4826962"/>
                </a:cubicBezTo>
                <a:lnTo>
                  <a:pt x="2320351" y="4833698"/>
                </a:lnTo>
                <a:lnTo>
                  <a:pt x="2320351" y="4865986"/>
                </a:lnTo>
                <a:lnTo>
                  <a:pt x="2183652" y="4859084"/>
                </a:lnTo>
                <a:cubicBezTo>
                  <a:pt x="2101671" y="4850758"/>
                  <a:pt x="2020890" y="4838372"/>
                  <a:pt x="1941514" y="4822129"/>
                </a:cubicBezTo>
                <a:lnTo>
                  <a:pt x="1911510" y="4814414"/>
                </a:lnTo>
                <a:close/>
                <a:moveTo>
                  <a:pt x="2946131" y="4783255"/>
                </a:moveTo>
                <a:lnTo>
                  <a:pt x="2954480" y="4814413"/>
                </a:lnTo>
                <a:lnTo>
                  <a:pt x="2924472" y="4822129"/>
                </a:lnTo>
                <a:cubicBezTo>
                  <a:pt x="2845096" y="4838372"/>
                  <a:pt x="2764315" y="4850758"/>
                  <a:pt x="2682334" y="4859084"/>
                </a:cubicBezTo>
                <a:lnTo>
                  <a:pt x="2545637" y="4865986"/>
                </a:lnTo>
                <a:lnTo>
                  <a:pt x="2545637" y="4833698"/>
                </a:lnTo>
                <a:lnTo>
                  <a:pt x="2679033" y="4826962"/>
                </a:lnTo>
                <a:cubicBezTo>
                  <a:pt x="2759929" y="4818747"/>
                  <a:pt x="2839640" y="4806525"/>
                  <a:pt x="2917965" y="4790497"/>
                </a:cubicBezTo>
                <a:close/>
                <a:moveTo>
                  <a:pt x="1329348" y="4569847"/>
                </a:moveTo>
                <a:lnTo>
                  <a:pt x="1496317" y="4650280"/>
                </a:lnTo>
                <a:lnTo>
                  <a:pt x="1702077" y="4725589"/>
                </a:lnTo>
                <a:lnTo>
                  <a:pt x="1693695" y="4756872"/>
                </a:lnTo>
                <a:lnTo>
                  <a:pt x="1483749" y="4680031"/>
                </a:lnTo>
                <a:lnTo>
                  <a:pt x="1313174" y="4597861"/>
                </a:lnTo>
                <a:close/>
                <a:moveTo>
                  <a:pt x="3536644" y="4569844"/>
                </a:moveTo>
                <a:lnTo>
                  <a:pt x="3552818" y="4597858"/>
                </a:lnTo>
                <a:lnTo>
                  <a:pt x="3382238" y="4680031"/>
                </a:lnTo>
                <a:lnTo>
                  <a:pt x="3172295" y="4756870"/>
                </a:lnTo>
                <a:lnTo>
                  <a:pt x="3163913" y="4725588"/>
                </a:lnTo>
                <a:lnTo>
                  <a:pt x="3369670" y="4650280"/>
                </a:lnTo>
                <a:close/>
                <a:moveTo>
                  <a:pt x="814868" y="4210416"/>
                </a:moveTo>
                <a:lnTo>
                  <a:pt x="902304" y="4289883"/>
                </a:lnTo>
                <a:cubicBezTo>
                  <a:pt x="961728" y="4338924"/>
                  <a:pt x="1023546" y="4385167"/>
                  <a:pt x="1087556" y="4428412"/>
                </a:cubicBezTo>
                <a:lnTo>
                  <a:pt x="1134427" y="4456887"/>
                </a:lnTo>
                <a:lnTo>
                  <a:pt x="1118296" y="4484828"/>
                </a:lnTo>
                <a:lnTo>
                  <a:pt x="1069504" y="4455186"/>
                </a:lnTo>
                <a:cubicBezTo>
                  <a:pt x="1004634" y="4411361"/>
                  <a:pt x="941987" y="4364497"/>
                  <a:pt x="881766" y="4314798"/>
                </a:cubicBezTo>
                <a:lnTo>
                  <a:pt x="792037" y="4233247"/>
                </a:lnTo>
                <a:close/>
                <a:moveTo>
                  <a:pt x="4051123" y="4210412"/>
                </a:moveTo>
                <a:lnTo>
                  <a:pt x="4073954" y="4233243"/>
                </a:lnTo>
                <a:lnTo>
                  <a:pt x="3984220" y="4314798"/>
                </a:lnTo>
                <a:cubicBezTo>
                  <a:pt x="3923999" y="4364497"/>
                  <a:pt x="3861352" y="4411361"/>
                  <a:pt x="3796483" y="4455186"/>
                </a:cubicBezTo>
                <a:lnTo>
                  <a:pt x="3747695" y="4484825"/>
                </a:lnTo>
                <a:lnTo>
                  <a:pt x="3731564" y="4456884"/>
                </a:lnTo>
                <a:lnTo>
                  <a:pt x="3778430" y="4428412"/>
                </a:lnTo>
                <a:cubicBezTo>
                  <a:pt x="3842441" y="4385167"/>
                  <a:pt x="3904259" y="4338924"/>
                  <a:pt x="3963682" y="4289883"/>
                </a:cubicBezTo>
                <a:close/>
                <a:moveTo>
                  <a:pt x="409097" y="3731554"/>
                </a:moveTo>
                <a:lnTo>
                  <a:pt x="437575" y="3778430"/>
                </a:lnTo>
                <a:cubicBezTo>
                  <a:pt x="480819" y="3842441"/>
                  <a:pt x="527063" y="3904259"/>
                  <a:pt x="576104" y="3963683"/>
                </a:cubicBezTo>
                <a:lnTo>
                  <a:pt x="655567" y="4051114"/>
                </a:lnTo>
                <a:lnTo>
                  <a:pt x="632736" y="4073945"/>
                </a:lnTo>
                <a:lnTo>
                  <a:pt x="551189" y="3984221"/>
                </a:lnTo>
                <a:cubicBezTo>
                  <a:pt x="501490" y="3924000"/>
                  <a:pt x="454626" y="3861352"/>
                  <a:pt x="410801" y="3796483"/>
                </a:cubicBezTo>
                <a:lnTo>
                  <a:pt x="381156" y="3747686"/>
                </a:lnTo>
                <a:close/>
                <a:moveTo>
                  <a:pt x="4456892" y="3731551"/>
                </a:moveTo>
                <a:lnTo>
                  <a:pt x="4484833" y="3747682"/>
                </a:lnTo>
                <a:lnTo>
                  <a:pt x="4455186" y="3796483"/>
                </a:lnTo>
                <a:cubicBezTo>
                  <a:pt x="4411361" y="3861352"/>
                  <a:pt x="4364497" y="3924000"/>
                  <a:pt x="4314798" y="3984221"/>
                </a:cubicBezTo>
                <a:lnTo>
                  <a:pt x="4233254" y="4073942"/>
                </a:lnTo>
                <a:lnTo>
                  <a:pt x="4210423" y="4051111"/>
                </a:lnTo>
                <a:lnTo>
                  <a:pt x="4289883" y="3963683"/>
                </a:lnTo>
                <a:cubicBezTo>
                  <a:pt x="4338924" y="3904259"/>
                  <a:pt x="4385167" y="3842441"/>
                  <a:pt x="4428412" y="3778430"/>
                </a:cubicBezTo>
                <a:close/>
                <a:moveTo>
                  <a:pt x="140395" y="3163903"/>
                </a:moveTo>
                <a:lnTo>
                  <a:pt x="215707" y="3369670"/>
                </a:lnTo>
                <a:lnTo>
                  <a:pt x="296137" y="3536634"/>
                </a:lnTo>
                <a:lnTo>
                  <a:pt x="268124" y="3552807"/>
                </a:lnTo>
                <a:lnTo>
                  <a:pt x="185956" y="3382238"/>
                </a:lnTo>
                <a:lnTo>
                  <a:pt x="109112" y="3172285"/>
                </a:lnTo>
                <a:close/>
                <a:moveTo>
                  <a:pt x="4725592" y="3163901"/>
                </a:moveTo>
                <a:lnTo>
                  <a:pt x="4756875" y="3172283"/>
                </a:lnTo>
                <a:lnTo>
                  <a:pt x="4680030" y="3382238"/>
                </a:lnTo>
                <a:lnTo>
                  <a:pt x="4597865" y="3552803"/>
                </a:lnTo>
                <a:lnTo>
                  <a:pt x="4569851" y="3536629"/>
                </a:lnTo>
                <a:lnTo>
                  <a:pt x="4650280" y="3369670"/>
                </a:lnTo>
                <a:close/>
                <a:moveTo>
                  <a:pt x="32288" y="2545628"/>
                </a:moveTo>
                <a:lnTo>
                  <a:pt x="39024" y="2679033"/>
                </a:lnTo>
                <a:cubicBezTo>
                  <a:pt x="47240" y="2759929"/>
                  <a:pt x="59462" y="2839640"/>
                  <a:pt x="75490" y="2917965"/>
                </a:cubicBezTo>
                <a:lnTo>
                  <a:pt x="82729" y="2946121"/>
                </a:lnTo>
                <a:lnTo>
                  <a:pt x="51571" y="2954470"/>
                </a:lnTo>
                <a:lnTo>
                  <a:pt x="43858" y="2924472"/>
                </a:lnTo>
                <a:cubicBezTo>
                  <a:pt x="27615" y="2845096"/>
                  <a:pt x="15229" y="2764315"/>
                  <a:pt x="6903" y="2682334"/>
                </a:cubicBezTo>
                <a:lnTo>
                  <a:pt x="0" y="2545628"/>
                </a:lnTo>
                <a:close/>
                <a:moveTo>
                  <a:pt x="4865986" y="2545628"/>
                </a:moveTo>
                <a:lnTo>
                  <a:pt x="4859083" y="2682334"/>
                </a:lnTo>
                <a:cubicBezTo>
                  <a:pt x="4850758" y="2764315"/>
                  <a:pt x="4838371" y="2845096"/>
                  <a:pt x="4822129" y="2924472"/>
                </a:cubicBezTo>
                <a:lnTo>
                  <a:pt x="4814416" y="2954468"/>
                </a:lnTo>
                <a:lnTo>
                  <a:pt x="4783258" y="2946119"/>
                </a:lnTo>
                <a:lnTo>
                  <a:pt x="4790497" y="2917965"/>
                </a:lnTo>
                <a:cubicBezTo>
                  <a:pt x="4806524" y="2839640"/>
                  <a:pt x="4818747" y="2759929"/>
                  <a:pt x="4826962" y="2679033"/>
                </a:cubicBezTo>
                <a:lnTo>
                  <a:pt x="4833698" y="2545628"/>
                </a:lnTo>
                <a:close/>
                <a:moveTo>
                  <a:pt x="4814412" y="1911504"/>
                </a:moveTo>
                <a:lnTo>
                  <a:pt x="4822129" y="1941514"/>
                </a:lnTo>
                <a:cubicBezTo>
                  <a:pt x="4838371" y="2020890"/>
                  <a:pt x="4850758" y="2101671"/>
                  <a:pt x="4859083" y="2183652"/>
                </a:cubicBezTo>
                <a:lnTo>
                  <a:pt x="4865986" y="2320343"/>
                </a:lnTo>
                <a:lnTo>
                  <a:pt x="4833698" y="2320343"/>
                </a:lnTo>
                <a:lnTo>
                  <a:pt x="4826962" y="2186953"/>
                </a:lnTo>
                <a:cubicBezTo>
                  <a:pt x="4818747" y="2106058"/>
                  <a:pt x="4806524" y="2026346"/>
                  <a:pt x="4790497" y="1948021"/>
                </a:cubicBezTo>
                <a:lnTo>
                  <a:pt x="4783254" y="1919852"/>
                </a:lnTo>
                <a:close/>
                <a:moveTo>
                  <a:pt x="51575" y="1911501"/>
                </a:moveTo>
                <a:lnTo>
                  <a:pt x="82733" y="1919850"/>
                </a:lnTo>
                <a:lnTo>
                  <a:pt x="75490" y="1948021"/>
                </a:lnTo>
                <a:cubicBezTo>
                  <a:pt x="59462" y="2026346"/>
                  <a:pt x="47240" y="2106058"/>
                  <a:pt x="39024" y="2186953"/>
                </a:cubicBezTo>
                <a:lnTo>
                  <a:pt x="32289" y="2320342"/>
                </a:lnTo>
                <a:lnTo>
                  <a:pt x="1" y="2320342"/>
                </a:lnTo>
                <a:lnTo>
                  <a:pt x="6903" y="2183652"/>
                </a:lnTo>
                <a:cubicBezTo>
                  <a:pt x="15229" y="2101671"/>
                  <a:pt x="27615" y="2020890"/>
                  <a:pt x="43858" y="1941514"/>
                </a:cubicBezTo>
                <a:close/>
                <a:moveTo>
                  <a:pt x="4597859" y="1313171"/>
                </a:moveTo>
                <a:lnTo>
                  <a:pt x="4680030" y="1483749"/>
                </a:lnTo>
                <a:lnTo>
                  <a:pt x="4756869" y="1693689"/>
                </a:lnTo>
                <a:lnTo>
                  <a:pt x="4725587" y="1702071"/>
                </a:lnTo>
                <a:lnTo>
                  <a:pt x="4650280" y="1496316"/>
                </a:lnTo>
                <a:lnTo>
                  <a:pt x="4569845" y="1329345"/>
                </a:lnTo>
                <a:close/>
                <a:moveTo>
                  <a:pt x="268129" y="1313167"/>
                </a:moveTo>
                <a:lnTo>
                  <a:pt x="296143" y="1329341"/>
                </a:lnTo>
                <a:lnTo>
                  <a:pt x="215707" y="1496316"/>
                </a:lnTo>
                <a:lnTo>
                  <a:pt x="140400" y="1702069"/>
                </a:lnTo>
                <a:lnTo>
                  <a:pt x="109118" y="1693687"/>
                </a:lnTo>
                <a:lnTo>
                  <a:pt x="185956" y="1483749"/>
                </a:lnTo>
                <a:close/>
                <a:moveTo>
                  <a:pt x="4233247" y="792037"/>
                </a:moveTo>
                <a:lnTo>
                  <a:pt x="4314798" y="881766"/>
                </a:lnTo>
                <a:cubicBezTo>
                  <a:pt x="4364497" y="941987"/>
                  <a:pt x="4411361" y="1004634"/>
                  <a:pt x="4455186" y="1069504"/>
                </a:cubicBezTo>
                <a:lnTo>
                  <a:pt x="4484826" y="1118293"/>
                </a:lnTo>
                <a:lnTo>
                  <a:pt x="4456885" y="1134425"/>
                </a:lnTo>
                <a:lnTo>
                  <a:pt x="4428412" y="1087556"/>
                </a:lnTo>
                <a:cubicBezTo>
                  <a:pt x="4385167" y="1023546"/>
                  <a:pt x="4338924" y="961728"/>
                  <a:pt x="4289883" y="902304"/>
                </a:cubicBezTo>
                <a:lnTo>
                  <a:pt x="4210416" y="814868"/>
                </a:lnTo>
                <a:close/>
                <a:moveTo>
                  <a:pt x="632743" y="792033"/>
                </a:moveTo>
                <a:lnTo>
                  <a:pt x="655574" y="814864"/>
                </a:lnTo>
                <a:lnTo>
                  <a:pt x="576104" y="902304"/>
                </a:lnTo>
                <a:cubicBezTo>
                  <a:pt x="527063" y="961728"/>
                  <a:pt x="480819" y="1023546"/>
                  <a:pt x="437575" y="1087556"/>
                </a:cubicBezTo>
                <a:lnTo>
                  <a:pt x="409103" y="1134421"/>
                </a:lnTo>
                <a:lnTo>
                  <a:pt x="381163" y="1118290"/>
                </a:lnTo>
                <a:lnTo>
                  <a:pt x="410801" y="1069504"/>
                </a:lnTo>
                <a:cubicBezTo>
                  <a:pt x="454626" y="1004634"/>
                  <a:pt x="501490" y="941987"/>
                  <a:pt x="551189" y="881766"/>
                </a:cubicBezTo>
                <a:close/>
                <a:moveTo>
                  <a:pt x="3747689" y="381158"/>
                </a:moveTo>
                <a:lnTo>
                  <a:pt x="3796483" y="410801"/>
                </a:lnTo>
                <a:cubicBezTo>
                  <a:pt x="3861352" y="454626"/>
                  <a:pt x="3923999" y="501490"/>
                  <a:pt x="3984220" y="551188"/>
                </a:cubicBezTo>
                <a:lnTo>
                  <a:pt x="4073946" y="632736"/>
                </a:lnTo>
                <a:lnTo>
                  <a:pt x="4051115" y="655567"/>
                </a:lnTo>
                <a:lnTo>
                  <a:pt x="3963682" y="576103"/>
                </a:lnTo>
                <a:cubicBezTo>
                  <a:pt x="3904259" y="527062"/>
                  <a:pt x="3842441" y="480819"/>
                  <a:pt x="3778430" y="437574"/>
                </a:cubicBezTo>
                <a:lnTo>
                  <a:pt x="3731557" y="409098"/>
                </a:lnTo>
                <a:close/>
                <a:moveTo>
                  <a:pt x="1118303" y="381155"/>
                </a:moveTo>
                <a:lnTo>
                  <a:pt x="1134434" y="409095"/>
                </a:lnTo>
                <a:lnTo>
                  <a:pt x="1087556" y="437574"/>
                </a:lnTo>
                <a:cubicBezTo>
                  <a:pt x="1023546" y="480819"/>
                  <a:pt x="961728" y="527062"/>
                  <a:pt x="902304" y="576103"/>
                </a:cubicBezTo>
                <a:lnTo>
                  <a:pt x="814876" y="655563"/>
                </a:lnTo>
                <a:lnTo>
                  <a:pt x="792045" y="632732"/>
                </a:lnTo>
                <a:lnTo>
                  <a:pt x="881766" y="551188"/>
                </a:lnTo>
                <a:cubicBezTo>
                  <a:pt x="941987" y="501490"/>
                  <a:pt x="1004634" y="454626"/>
                  <a:pt x="1069504" y="410801"/>
                </a:cubicBezTo>
                <a:close/>
                <a:moveTo>
                  <a:pt x="3172291" y="109114"/>
                </a:moveTo>
                <a:lnTo>
                  <a:pt x="3382238" y="185956"/>
                </a:lnTo>
                <a:lnTo>
                  <a:pt x="3552811" y="268125"/>
                </a:lnTo>
                <a:lnTo>
                  <a:pt x="3536637" y="296139"/>
                </a:lnTo>
                <a:lnTo>
                  <a:pt x="3369670" y="215706"/>
                </a:lnTo>
                <a:lnTo>
                  <a:pt x="3163909" y="140397"/>
                </a:lnTo>
                <a:close/>
                <a:moveTo>
                  <a:pt x="1693699" y="109113"/>
                </a:moveTo>
                <a:lnTo>
                  <a:pt x="1702081" y="140396"/>
                </a:lnTo>
                <a:lnTo>
                  <a:pt x="1496317" y="215706"/>
                </a:lnTo>
                <a:lnTo>
                  <a:pt x="1329355" y="296136"/>
                </a:lnTo>
                <a:lnTo>
                  <a:pt x="1313181" y="268123"/>
                </a:lnTo>
                <a:lnTo>
                  <a:pt x="1483749" y="185956"/>
                </a:lnTo>
                <a:close/>
                <a:moveTo>
                  <a:pt x="2545637" y="0"/>
                </a:moveTo>
                <a:lnTo>
                  <a:pt x="2682334" y="6903"/>
                </a:lnTo>
                <a:cubicBezTo>
                  <a:pt x="2764315" y="15228"/>
                  <a:pt x="2845096" y="27615"/>
                  <a:pt x="2924472" y="43857"/>
                </a:cubicBezTo>
                <a:lnTo>
                  <a:pt x="2954476" y="51572"/>
                </a:lnTo>
                <a:lnTo>
                  <a:pt x="2946127" y="82731"/>
                </a:lnTo>
                <a:lnTo>
                  <a:pt x="2917965" y="75490"/>
                </a:lnTo>
                <a:cubicBezTo>
                  <a:pt x="2839640" y="59462"/>
                  <a:pt x="2759929" y="47239"/>
                  <a:pt x="2679033" y="39024"/>
                </a:cubicBezTo>
                <a:lnTo>
                  <a:pt x="2545637" y="32288"/>
                </a:lnTo>
                <a:close/>
                <a:moveTo>
                  <a:pt x="2320350" y="0"/>
                </a:moveTo>
                <a:lnTo>
                  <a:pt x="2320350" y="32288"/>
                </a:lnTo>
                <a:lnTo>
                  <a:pt x="2186953" y="39024"/>
                </a:lnTo>
                <a:cubicBezTo>
                  <a:pt x="2106058" y="47239"/>
                  <a:pt x="2026346" y="59462"/>
                  <a:pt x="1948021" y="75490"/>
                </a:cubicBezTo>
                <a:lnTo>
                  <a:pt x="1919863" y="82730"/>
                </a:lnTo>
                <a:lnTo>
                  <a:pt x="1911514" y="51571"/>
                </a:lnTo>
                <a:lnTo>
                  <a:pt x="1941514" y="43857"/>
                </a:lnTo>
                <a:cubicBezTo>
                  <a:pt x="2020890" y="27615"/>
                  <a:pt x="2101671" y="15228"/>
                  <a:pt x="2183652" y="6903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2" name="Circle: Hollow 191">
            <a:extLst>
              <a:ext uri="{FF2B5EF4-FFF2-40B4-BE49-F238E27FC236}">
                <a16:creationId xmlns:a16="http://schemas.microsoft.com/office/drawing/2014/main" id="{52CA9F6B-D647-4E2B-87A5-1693A77F5211}"/>
              </a:ext>
            </a:extLst>
          </p:cNvPr>
          <p:cNvSpPr/>
          <p:nvPr/>
        </p:nvSpPr>
        <p:spPr>
          <a:xfrm>
            <a:off x="-3299810" y="-3102830"/>
            <a:ext cx="13244748" cy="13244748"/>
          </a:xfrm>
          <a:prstGeom prst="donut">
            <a:avLst>
              <a:gd name="adj" fmla="val 694"/>
            </a:avLst>
          </a:prstGeom>
          <a:solidFill>
            <a:srgbClr val="32839C"/>
          </a:solidFill>
          <a:ln>
            <a:noFill/>
          </a:ln>
          <a:effectLst>
            <a:outerShdw blurRad="50800" dist="38100" dir="2700000" algn="tl" rotWithShape="0">
              <a:srgbClr val="2C9A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2839C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57802E-8873-4984-BE70-8098C5C1249E}"/>
              </a:ext>
            </a:extLst>
          </p:cNvPr>
          <p:cNvGrpSpPr/>
          <p:nvPr/>
        </p:nvGrpSpPr>
        <p:grpSpPr>
          <a:xfrm>
            <a:off x="-3993078" y="-3811954"/>
            <a:ext cx="14622251" cy="14652473"/>
            <a:chOff x="-3460516" y="-3912438"/>
            <a:chExt cx="14622251" cy="14652473"/>
          </a:xfrm>
          <a:solidFill>
            <a:srgbClr val="2C9AA1"/>
          </a:solidFill>
        </p:grpSpPr>
        <p:sp>
          <p:nvSpPr>
            <p:cNvPr id="190" name="Circle: Hollow 189">
              <a:extLst>
                <a:ext uri="{FF2B5EF4-FFF2-40B4-BE49-F238E27FC236}">
                  <a16:creationId xmlns:a16="http://schemas.microsoft.com/office/drawing/2014/main" id="{060172ED-5DE2-45B5-833C-7B246397629E}"/>
                </a:ext>
              </a:extLst>
            </p:cNvPr>
            <p:cNvSpPr/>
            <p:nvPr/>
          </p:nvSpPr>
          <p:spPr>
            <a:xfrm>
              <a:off x="-3319698" y="-3755764"/>
              <a:ext cx="14349648" cy="14349648"/>
            </a:xfrm>
            <a:prstGeom prst="donut">
              <a:avLst>
                <a:gd name="adj" fmla="val 69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55729676-DF1E-4985-960A-FA69052090EF}"/>
                </a:ext>
              </a:extLst>
            </p:cNvPr>
            <p:cNvSpPr/>
            <p:nvPr/>
          </p:nvSpPr>
          <p:spPr>
            <a:xfrm>
              <a:off x="10785811" y="323109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00FF"/>
                </a:highlight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B4BBEF6-BBCD-4595-86B5-E0B5EE5E95D7}"/>
                </a:ext>
              </a:extLst>
            </p:cNvPr>
            <p:cNvSpPr/>
            <p:nvPr/>
          </p:nvSpPr>
          <p:spPr>
            <a:xfrm>
              <a:off x="3782052" y="-391243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4A24C338-786B-404A-9C17-E058C1112C75}"/>
                </a:ext>
              </a:extLst>
            </p:cNvPr>
            <p:cNvSpPr/>
            <p:nvPr/>
          </p:nvSpPr>
          <p:spPr>
            <a:xfrm>
              <a:off x="-3460516" y="31178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4D56DD95-49AA-4C53-9989-3CDB0F0FF695}"/>
                </a:ext>
              </a:extLst>
            </p:cNvPr>
            <p:cNvSpPr/>
            <p:nvPr/>
          </p:nvSpPr>
          <p:spPr>
            <a:xfrm>
              <a:off x="3662356" y="10364111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6FDAF664-A0F9-4E87-9764-9A3355D854FF}"/>
                </a:ext>
              </a:extLst>
            </p:cNvPr>
            <p:cNvSpPr/>
            <p:nvPr/>
          </p:nvSpPr>
          <p:spPr>
            <a:xfrm>
              <a:off x="8811252" y="-169587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FDD0E481-E02C-435F-9CB9-831ABD9D7713}"/>
                </a:ext>
              </a:extLst>
            </p:cNvPr>
            <p:cNvSpPr/>
            <p:nvPr/>
          </p:nvSpPr>
          <p:spPr>
            <a:xfrm>
              <a:off x="9130338" y="78026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85E5DDB4-76D6-4417-A208-FCA9366A3416}"/>
                </a:ext>
              </a:extLst>
            </p:cNvPr>
            <p:cNvSpPr/>
            <p:nvPr/>
          </p:nvSpPr>
          <p:spPr>
            <a:xfrm>
              <a:off x="-1666248" y="-1507916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D83840F-E5B1-4520-B871-CEBC7D5BDB8A}"/>
                </a:ext>
              </a:extLst>
            </p:cNvPr>
            <p:cNvSpPr/>
            <p:nvPr/>
          </p:nvSpPr>
          <p:spPr>
            <a:xfrm>
              <a:off x="-1478286" y="8178552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9C76471B-500A-904B-CA5D-258B6775C4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488" y="2363971"/>
            <a:ext cx="2517829" cy="26967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E497B0-5BFD-6F4E-0F69-7E5A705B5121}"/>
              </a:ext>
            </a:extLst>
          </p:cNvPr>
          <p:cNvSpPr txBox="1"/>
          <p:nvPr/>
        </p:nvSpPr>
        <p:spPr>
          <a:xfrm>
            <a:off x="4796402" y="562452"/>
            <a:ext cx="3357009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ject Title</a:t>
            </a:r>
            <a:endParaRPr lang="ar-EG" sz="30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0598BC-0F20-1398-B634-C3592CC610C5}"/>
              </a:ext>
            </a:extLst>
          </p:cNvPr>
          <p:cNvSpPr txBox="1"/>
          <p:nvPr/>
        </p:nvSpPr>
        <p:spPr>
          <a:xfrm>
            <a:off x="5278693" y="985142"/>
            <a:ext cx="423705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upervisor's names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A8B466-B84B-78E7-853B-67573130BA4F}"/>
              </a:ext>
            </a:extLst>
          </p:cNvPr>
          <p:cNvSpPr txBox="1"/>
          <p:nvPr/>
        </p:nvSpPr>
        <p:spPr>
          <a:xfrm>
            <a:off x="5376340" y="5418461"/>
            <a:ext cx="4336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Dr. Mohammed Att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93495B-5CF7-5E16-A301-30B0EE3D8283}"/>
              </a:ext>
            </a:extLst>
          </p:cNvPr>
          <p:cNvSpPr txBox="1"/>
          <p:nvPr/>
        </p:nvSpPr>
        <p:spPr>
          <a:xfrm>
            <a:off x="4748323" y="5898994"/>
            <a:ext cx="4580100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Eng. Mohammed Hussein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17" name="صورة 4" descr="صورة تحتوي على رمز, نص, دائرة, الخط&#10;&#10;تم إنشاء الوصف تلقائياً">
            <a:extLst>
              <a:ext uri="{FF2B5EF4-FFF2-40B4-BE49-F238E27FC236}">
                <a16:creationId xmlns:a16="http://schemas.microsoft.com/office/drawing/2014/main" id="{C27CE597-3C91-ACA5-6953-AD870BAEFF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718" y="131582"/>
            <a:ext cx="1368000" cy="1368000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9372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40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400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40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400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4" dur="40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4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8" dur="40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/>
      <p:bldP spid="191" grpId="0" animBg="1"/>
      <p:bldP spid="192" grpId="0" animBg="1"/>
      <p:bldP spid="13" grpId="0"/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2730BE-1B4E-5B95-CDDB-AED2BDE12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وتر 15">
            <a:extLst>
              <a:ext uri="{FF2B5EF4-FFF2-40B4-BE49-F238E27FC236}">
                <a16:creationId xmlns:a16="http://schemas.microsoft.com/office/drawing/2014/main" id="{7AC87F03-B73F-B427-D265-FE0BC03B35E7}"/>
              </a:ext>
            </a:extLst>
          </p:cNvPr>
          <p:cNvSpPr/>
          <p:nvPr/>
        </p:nvSpPr>
        <p:spPr>
          <a:xfrm>
            <a:off x="66839" y="105509"/>
            <a:ext cx="2967995" cy="1181686"/>
          </a:xfrm>
          <a:prstGeom prst="chord">
            <a:avLst>
              <a:gd name="adj1" fmla="val 1577888"/>
              <a:gd name="adj2" fmla="val 1620000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184F072-C9CB-E6E4-26AC-613BC73FCE43}"/>
              </a:ext>
            </a:extLst>
          </p:cNvPr>
          <p:cNvSpPr txBox="1"/>
          <p:nvPr/>
        </p:nvSpPr>
        <p:spPr>
          <a:xfrm>
            <a:off x="2897509" y="181376"/>
            <a:ext cx="750934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Comparison between existing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9700ED6D-6D04-3742-ED17-12F157F3F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1" y="-413477"/>
            <a:ext cx="2517829" cy="2566672"/>
          </a:xfrm>
          <a:prstGeom prst="rect">
            <a:avLst/>
          </a:prstGeom>
        </p:spPr>
      </p:pic>
      <p:graphicFrame>
        <p:nvGraphicFramePr>
          <p:cNvPr id="19" name="جدول 18">
            <a:extLst>
              <a:ext uri="{FF2B5EF4-FFF2-40B4-BE49-F238E27FC236}">
                <a16:creationId xmlns:a16="http://schemas.microsoft.com/office/drawing/2014/main" id="{17DC175A-281B-6FEB-27EC-ABB5F068F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184089"/>
              </p:ext>
            </p:extLst>
          </p:nvPr>
        </p:nvGraphicFramePr>
        <p:xfrm>
          <a:off x="279008" y="1502905"/>
          <a:ext cx="11633983" cy="524958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87325">
                  <a:extLst>
                    <a:ext uri="{9D8B030D-6E8A-4147-A177-3AD203B41FA5}">
                      <a16:colId xmlns:a16="http://schemas.microsoft.com/office/drawing/2014/main" val="2924644921"/>
                    </a:ext>
                  </a:extLst>
                </a:gridCol>
                <a:gridCol w="1298565">
                  <a:extLst>
                    <a:ext uri="{9D8B030D-6E8A-4147-A177-3AD203B41FA5}">
                      <a16:colId xmlns:a16="http://schemas.microsoft.com/office/drawing/2014/main" val="26209954"/>
                    </a:ext>
                  </a:extLst>
                </a:gridCol>
                <a:gridCol w="1519311">
                  <a:extLst>
                    <a:ext uri="{9D8B030D-6E8A-4147-A177-3AD203B41FA5}">
                      <a16:colId xmlns:a16="http://schemas.microsoft.com/office/drawing/2014/main" val="3818655381"/>
                    </a:ext>
                  </a:extLst>
                </a:gridCol>
                <a:gridCol w="1800665">
                  <a:extLst>
                    <a:ext uri="{9D8B030D-6E8A-4147-A177-3AD203B41FA5}">
                      <a16:colId xmlns:a16="http://schemas.microsoft.com/office/drawing/2014/main" val="3367188267"/>
                    </a:ext>
                  </a:extLst>
                </a:gridCol>
                <a:gridCol w="1800664">
                  <a:extLst>
                    <a:ext uri="{9D8B030D-6E8A-4147-A177-3AD203B41FA5}">
                      <a16:colId xmlns:a16="http://schemas.microsoft.com/office/drawing/2014/main" val="1569058754"/>
                    </a:ext>
                  </a:extLst>
                </a:gridCol>
                <a:gridCol w="2307102">
                  <a:extLst>
                    <a:ext uri="{9D8B030D-6E8A-4147-A177-3AD203B41FA5}">
                      <a16:colId xmlns:a16="http://schemas.microsoft.com/office/drawing/2014/main" val="3974886447"/>
                    </a:ext>
                  </a:extLst>
                </a:gridCol>
                <a:gridCol w="2220351">
                  <a:extLst>
                    <a:ext uri="{9D8B030D-6E8A-4147-A177-3AD203B41FA5}">
                      <a16:colId xmlns:a16="http://schemas.microsoft.com/office/drawing/2014/main" val="2161267325"/>
                    </a:ext>
                  </a:extLst>
                </a:gridCol>
              </a:tblGrid>
              <a:tr h="406794"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3809297"/>
                  </a:ext>
                </a:extLst>
              </a:tr>
              <a:tr h="1162270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2838040"/>
                  </a:ext>
                </a:extLst>
              </a:tr>
              <a:tr h="1743405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91281732"/>
                  </a:ext>
                </a:extLst>
              </a:tr>
              <a:tr h="1937117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1191455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769872-3AEA-1747-586A-3500B13D9668}"/>
              </a:ext>
            </a:extLst>
          </p:cNvPr>
          <p:cNvSpPr txBox="1"/>
          <p:nvPr/>
        </p:nvSpPr>
        <p:spPr>
          <a:xfrm>
            <a:off x="966719" y="2253073"/>
            <a:ext cx="1136721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A25B52-FE7A-A783-F8CA-84E6676D62E0}"/>
              </a:ext>
            </a:extLst>
          </p:cNvPr>
          <p:cNvSpPr txBox="1"/>
          <p:nvPr/>
        </p:nvSpPr>
        <p:spPr>
          <a:xfrm rot="16200000">
            <a:off x="175133" y="2155308"/>
            <a:ext cx="106952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JobLeads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383A2-D521-657C-8D33-ADB8CD459590}"/>
              </a:ext>
            </a:extLst>
          </p:cNvPr>
          <p:cNvSpPr txBox="1"/>
          <p:nvPr/>
        </p:nvSpPr>
        <p:spPr>
          <a:xfrm rot="16200000">
            <a:off x="-214998" y="3675221"/>
            <a:ext cx="1816523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Bayt.com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45C3F0-AD69-02E1-6F12-9317BC57665A}"/>
              </a:ext>
            </a:extLst>
          </p:cNvPr>
          <p:cNvSpPr txBox="1"/>
          <p:nvPr/>
        </p:nvSpPr>
        <p:spPr>
          <a:xfrm rot="16200000">
            <a:off x="-195962" y="5412450"/>
            <a:ext cx="181171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Glassdoor: Jobs 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&amp; Community App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D78FE-53FC-DB53-C59B-D7DFDBC80BAE}"/>
              </a:ext>
            </a:extLst>
          </p:cNvPr>
          <p:cNvSpPr txBox="1"/>
          <p:nvPr/>
        </p:nvSpPr>
        <p:spPr>
          <a:xfrm>
            <a:off x="1054351" y="1459520"/>
            <a:ext cx="1151277" cy="73866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Technology </a:t>
            </a:r>
            <a:endParaRPr lang="en-US" sz="1400" b="1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/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Used</a:t>
            </a:r>
            <a:endParaRPr lang="en-US" sz="1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0BD44-AA82-BEFC-1B5F-AAFD30E52182}"/>
              </a:ext>
            </a:extLst>
          </p:cNvPr>
          <p:cNvSpPr txBox="1"/>
          <p:nvPr/>
        </p:nvSpPr>
        <p:spPr>
          <a:xfrm>
            <a:off x="986390" y="3644384"/>
            <a:ext cx="1162306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ML, NLP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3B6752-738C-E0E7-57B5-CEA54A4186BF}"/>
              </a:ext>
            </a:extLst>
          </p:cNvPr>
          <p:cNvSpPr txBox="1"/>
          <p:nvPr/>
        </p:nvSpPr>
        <p:spPr>
          <a:xfrm>
            <a:off x="971701" y="5622434"/>
            <a:ext cx="1136721" cy="615553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4F9A4E-90BA-ACCC-E8AC-281A804149E9}"/>
              </a:ext>
            </a:extLst>
          </p:cNvPr>
          <p:cNvSpPr txBox="1"/>
          <p:nvPr/>
        </p:nvSpPr>
        <p:spPr>
          <a:xfrm>
            <a:off x="312099" y="1557794"/>
            <a:ext cx="67037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18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Nom</a:t>
            </a:r>
            <a:endParaRPr lang="ar-EG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E35DAF-1D0E-BD21-36D9-A744B3572F0E}"/>
              </a:ext>
            </a:extLst>
          </p:cNvPr>
          <p:cNvSpPr txBox="1"/>
          <p:nvPr/>
        </p:nvSpPr>
        <p:spPr>
          <a:xfrm>
            <a:off x="2441562" y="1535529"/>
            <a:ext cx="1075936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s</a:t>
            </a:r>
            <a:endParaRPr lang="ar-EG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A9282A-54A4-BA34-B977-132CAF8A3981}"/>
              </a:ext>
            </a:extLst>
          </p:cNvPr>
          <p:cNvSpPr txBox="1"/>
          <p:nvPr/>
        </p:nvSpPr>
        <p:spPr>
          <a:xfrm>
            <a:off x="2309795" y="2022440"/>
            <a:ext cx="1821557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utomates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353DFF-62CD-1735-688A-BF1BF107D722}"/>
              </a:ext>
            </a:extLst>
          </p:cNvPr>
          <p:cNvSpPr txBox="1"/>
          <p:nvPr/>
        </p:nvSpPr>
        <p:spPr>
          <a:xfrm>
            <a:off x="2309795" y="3440638"/>
            <a:ext cx="1507728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atches job seekers with relevant job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A48EB5-AECD-C963-2B06-7ECA2BC3693D}"/>
              </a:ext>
            </a:extLst>
          </p:cNvPr>
          <p:cNvSpPr txBox="1"/>
          <p:nvPr/>
        </p:nvSpPr>
        <p:spPr>
          <a:xfrm>
            <a:off x="2292706" y="5152056"/>
            <a:ext cx="1646729" cy="129266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rovides comprehensive job search platform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52FF2A-EDAA-CAE3-ADDD-F120455A81BD}"/>
              </a:ext>
            </a:extLst>
          </p:cNvPr>
          <p:cNvSpPr txBox="1"/>
          <p:nvPr/>
        </p:nvSpPr>
        <p:spPr>
          <a:xfrm>
            <a:off x="3926499" y="1536464"/>
            <a:ext cx="1513556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alities</a:t>
            </a:r>
            <a:endParaRPr lang="en-US" sz="16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8A1846-13BD-C7ED-7D58-89407B289D51}"/>
              </a:ext>
            </a:extLst>
          </p:cNvPr>
          <p:cNvSpPr txBox="1"/>
          <p:nvPr/>
        </p:nvSpPr>
        <p:spPr>
          <a:xfrm>
            <a:off x="3772498" y="2035336"/>
            <a:ext cx="1821557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review, personalized job recommendat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69433B-5CC6-D598-FBA7-2F569B397B66}"/>
              </a:ext>
            </a:extLst>
          </p:cNvPr>
          <p:cNvSpPr txBox="1"/>
          <p:nvPr/>
        </p:nvSpPr>
        <p:spPr>
          <a:xfrm>
            <a:off x="3817523" y="3429000"/>
            <a:ext cx="164672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analysis, job description gener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C69571-A97B-005C-A96B-CBA050F0B920}"/>
              </a:ext>
            </a:extLst>
          </p:cNvPr>
          <p:cNvSpPr txBox="1"/>
          <p:nvPr/>
        </p:nvSpPr>
        <p:spPr>
          <a:xfrm>
            <a:off x="3817523" y="4955463"/>
            <a:ext cx="1821558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Company reviews, salary insights, interview experiences, job application tracking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7EAC13-BA3B-7124-0B6E-135A70B27AA4}"/>
              </a:ext>
            </a:extLst>
          </p:cNvPr>
          <p:cNvSpPr txBox="1"/>
          <p:nvPr/>
        </p:nvSpPr>
        <p:spPr>
          <a:xfrm>
            <a:off x="5837354" y="1514039"/>
            <a:ext cx="1132041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Objective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41B4F7-DFDC-AD89-4B58-E18715B8D40D}"/>
              </a:ext>
            </a:extLst>
          </p:cNvPr>
          <p:cNvSpPr txBox="1"/>
          <p:nvPr/>
        </p:nvSpPr>
        <p:spPr>
          <a:xfrm>
            <a:off x="5595532" y="1955994"/>
            <a:ext cx="1812248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ster job search, optimized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77181D-D7DD-DB28-78AA-2E0BD8BC2FD5}"/>
              </a:ext>
            </a:extLst>
          </p:cNvPr>
          <p:cNvSpPr txBox="1"/>
          <p:nvPr/>
        </p:nvSpPr>
        <p:spPr>
          <a:xfrm>
            <a:off x="5594055" y="3429000"/>
            <a:ext cx="176869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cilitates job search, enhances HRM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6EC38B-8BFB-A42E-E53B-E707173A9563}"/>
              </a:ext>
            </a:extLst>
          </p:cNvPr>
          <p:cNvSpPr txBox="1"/>
          <p:nvPr/>
        </p:nvSpPr>
        <p:spPr>
          <a:xfrm>
            <a:off x="5579608" y="5382889"/>
            <a:ext cx="1699646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Informed career decis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DF78E3-6AFE-A70E-C422-C50C990974FC}"/>
              </a:ext>
            </a:extLst>
          </p:cNvPr>
          <p:cNvSpPr txBox="1"/>
          <p:nvPr/>
        </p:nvSpPr>
        <p:spPr>
          <a:xfrm>
            <a:off x="8041289" y="1514039"/>
            <a:ext cx="933269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Benefits</a:t>
            </a:r>
            <a:endParaRPr lang="ar-EG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8BF07A0-62CE-5FCC-DB4B-492ED683CED5}"/>
              </a:ext>
            </a:extLst>
          </p:cNvPr>
          <p:cNvSpPr txBox="1"/>
          <p:nvPr/>
        </p:nvSpPr>
        <p:spPr>
          <a:xfrm>
            <a:off x="7376720" y="1927126"/>
            <a:ext cx="2350915" cy="12464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personalized resume tools, enhanced user experience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B7F34E-E5B2-3BF9-C9A6-A2B6EB4AE2C0}"/>
              </a:ext>
            </a:extLst>
          </p:cNvPr>
          <p:cNvSpPr txBox="1"/>
          <p:nvPr/>
        </p:nvSpPr>
        <p:spPr>
          <a:xfrm>
            <a:off x="7386770" y="3211379"/>
            <a:ext cx="2228589" cy="17081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AI-powered job description generation, enhanced accuracy and efficiency of HRM proces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BB17A3-1666-A005-72D8-64A8A0AA3153}"/>
              </a:ext>
            </a:extLst>
          </p:cNvPr>
          <p:cNvSpPr txBox="1"/>
          <p:nvPr/>
        </p:nvSpPr>
        <p:spPr>
          <a:xfrm>
            <a:off x="7407780" y="4968126"/>
            <a:ext cx="2228589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ersonalized job recommendations, tailored company reviews and interview insights, accurate salary inform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F5C175-3C9E-AE72-D445-7E994B1DA274}"/>
              </a:ext>
            </a:extLst>
          </p:cNvPr>
          <p:cNvSpPr txBox="1"/>
          <p:nvPr/>
        </p:nvSpPr>
        <p:spPr>
          <a:xfrm>
            <a:off x="10168429" y="1535529"/>
            <a:ext cx="1197764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Limitation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07E3E0-8596-CC12-D4EA-75D5EC7C5D17}"/>
              </a:ext>
            </a:extLst>
          </p:cNvPr>
          <p:cNvSpPr txBox="1"/>
          <p:nvPr/>
        </p:nvSpPr>
        <p:spPr>
          <a:xfrm>
            <a:off x="9644856" y="1927126"/>
            <a:ext cx="2350915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lack of human touch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73E9A3-BB91-AF05-A881-084DCEC41812}"/>
              </a:ext>
            </a:extLst>
          </p:cNvPr>
          <p:cNvSpPr txBox="1"/>
          <p:nvPr/>
        </p:nvSpPr>
        <p:spPr>
          <a:xfrm>
            <a:off x="9727435" y="3279433"/>
            <a:ext cx="2289724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complex HRM processe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D0FB914-B3A6-0108-D1BA-B59E8CEE4F05}"/>
              </a:ext>
            </a:extLst>
          </p:cNvPr>
          <p:cNvSpPr txBox="1"/>
          <p:nvPr/>
        </p:nvSpPr>
        <p:spPr>
          <a:xfrm>
            <a:off x="9727435" y="4956993"/>
            <a:ext cx="254188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 in personalized recommendations, limitations in fully automating complex HRM processe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0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8" grpId="0"/>
      <p:bldP spid="3" grpId="0"/>
      <p:bldP spid="5" grpId="0"/>
      <p:bldP spid="6" grpId="0"/>
      <p:bldP spid="7" grpId="0"/>
      <p:bldP spid="8" grpId="0"/>
      <p:bldP spid="10" grpId="0"/>
      <p:bldP spid="11" grpId="0"/>
      <p:bldP spid="13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93A25-9044-46DB-2C58-CE9D1108B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ounded Rectangle 37">
            <a:extLst>
              <a:ext uri="{FF2B5EF4-FFF2-40B4-BE49-F238E27FC236}">
                <a16:creationId xmlns:a16="http://schemas.microsoft.com/office/drawing/2014/main" id="{C3C90EF6-25BE-03CD-8665-2BCF66C1EA92}"/>
              </a:ext>
            </a:extLst>
          </p:cNvPr>
          <p:cNvSpPr/>
          <p:nvPr/>
        </p:nvSpPr>
        <p:spPr>
          <a:xfrm>
            <a:off x="3954248" y="5025027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ounded Rectangle 37">
            <a:extLst>
              <a:ext uri="{FF2B5EF4-FFF2-40B4-BE49-F238E27FC236}">
                <a16:creationId xmlns:a16="http://schemas.microsoft.com/office/drawing/2014/main" id="{00E34B99-793E-9CCA-7E6F-C7D6AA366F5E}"/>
              </a:ext>
            </a:extLst>
          </p:cNvPr>
          <p:cNvSpPr/>
          <p:nvPr/>
        </p:nvSpPr>
        <p:spPr>
          <a:xfrm>
            <a:off x="2117068" y="1004244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على شكل حرف L 2">
            <a:extLst>
              <a:ext uri="{FF2B5EF4-FFF2-40B4-BE49-F238E27FC236}">
                <a16:creationId xmlns:a16="http://schemas.microsoft.com/office/drawing/2014/main" id="{962D9EB9-53B7-0D2B-420A-CB17D22E7A33}"/>
              </a:ext>
            </a:extLst>
          </p:cNvPr>
          <p:cNvSpPr/>
          <p:nvPr/>
        </p:nvSpPr>
        <p:spPr>
          <a:xfrm>
            <a:off x="253218" y="239499"/>
            <a:ext cx="1786598" cy="1203694"/>
          </a:xfrm>
          <a:prstGeom prst="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6A3A9A0B-BCCC-FB77-81F0-939151FED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1" y="-116806"/>
            <a:ext cx="2517829" cy="25666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47ACAB0-B6D6-94C5-4A73-1840047B83F4}"/>
              </a:ext>
            </a:extLst>
          </p:cNvPr>
          <p:cNvSpPr txBox="1"/>
          <p:nvPr/>
        </p:nvSpPr>
        <p:spPr>
          <a:xfrm>
            <a:off x="2940491" y="202566"/>
            <a:ext cx="64291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Problem statement 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8C63A74-DA3F-BC9B-0765-430ABA20B479}"/>
              </a:ext>
            </a:extLst>
          </p:cNvPr>
          <p:cNvSpPr txBox="1">
            <a:spLocks/>
          </p:cNvSpPr>
          <p:nvPr/>
        </p:nvSpPr>
        <p:spPr>
          <a:xfrm>
            <a:off x="2204067" y="1064574"/>
            <a:ext cx="6029194" cy="565649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7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llenges Faced by HR Departments: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827E3B17-699F-D6A7-9C64-CBCBDF009F98}"/>
              </a:ext>
            </a:extLst>
          </p:cNvPr>
          <p:cNvSpPr/>
          <p:nvPr/>
        </p:nvSpPr>
        <p:spPr>
          <a:xfrm>
            <a:off x="3960985" y="3770780"/>
            <a:ext cx="3482523" cy="1172812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FC18D727-B302-3695-487F-26779A8AB33B}"/>
              </a:ext>
            </a:extLst>
          </p:cNvPr>
          <p:cNvSpPr/>
          <p:nvPr/>
        </p:nvSpPr>
        <p:spPr>
          <a:xfrm>
            <a:off x="3960986" y="2815988"/>
            <a:ext cx="3482523" cy="97220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3" name="Flowchart: Manual Input 10">
            <a:extLst>
              <a:ext uri="{FF2B5EF4-FFF2-40B4-BE49-F238E27FC236}">
                <a16:creationId xmlns:a16="http://schemas.microsoft.com/office/drawing/2014/main" id="{04A46C36-0F31-D1F3-CB0E-23C135A846DB}"/>
              </a:ext>
            </a:extLst>
          </p:cNvPr>
          <p:cNvSpPr/>
          <p:nvPr/>
        </p:nvSpPr>
        <p:spPr>
          <a:xfrm flipH="1" flipV="1">
            <a:off x="3467627" y="3787540"/>
            <a:ext cx="493358" cy="1489210"/>
          </a:xfrm>
          <a:prstGeom prst="flowChartManualInpu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Flowchart: Manual Input 9">
            <a:extLst>
              <a:ext uri="{FF2B5EF4-FFF2-40B4-BE49-F238E27FC236}">
                <a16:creationId xmlns:a16="http://schemas.microsoft.com/office/drawing/2014/main" id="{F61D5010-1574-CF40-B5D8-C88D64612DCD}"/>
              </a:ext>
            </a:extLst>
          </p:cNvPr>
          <p:cNvSpPr/>
          <p:nvPr/>
        </p:nvSpPr>
        <p:spPr>
          <a:xfrm flipH="1">
            <a:off x="3467628" y="1546316"/>
            <a:ext cx="493358" cy="1334559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09BCD8B4-A048-42F3-51B3-BDFC5A50875A}"/>
              </a:ext>
            </a:extLst>
          </p:cNvPr>
          <p:cNvSpPr/>
          <p:nvPr/>
        </p:nvSpPr>
        <p:spPr>
          <a:xfrm>
            <a:off x="1363608" y="1546316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574D7F36-7A1B-90D8-C52E-68E0AF0428FA}"/>
              </a:ext>
            </a:extLst>
          </p:cNvPr>
          <p:cNvSpPr/>
          <p:nvPr/>
        </p:nvSpPr>
        <p:spPr>
          <a:xfrm>
            <a:off x="1363608" y="2736178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248E09B-F844-8883-7174-BCC331A286B5}"/>
              </a:ext>
            </a:extLst>
          </p:cNvPr>
          <p:cNvSpPr/>
          <p:nvPr/>
        </p:nvSpPr>
        <p:spPr>
          <a:xfrm>
            <a:off x="1363607" y="3926040"/>
            <a:ext cx="2104024" cy="135071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8" name="Flowchart: Delay 4">
            <a:extLst>
              <a:ext uri="{FF2B5EF4-FFF2-40B4-BE49-F238E27FC236}">
                <a16:creationId xmlns:a16="http://schemas.microsoft.com/office/drawing/2014/main" id="{AB7357CC-5FC2-1158-4E47-7A4BA48F11B1}"/>
              </a:ext>
            </a:extLst>
          </p:cNvPr>
          <p:cNvSpPr/>
          <p:nvPr/>
        </p:nvSpPr>
        <p:spPr>
          <a:xfrm flipH="1">
            <a:off x="289831" y="1546316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9" name="Flowchart: Delay 5">
            <a:extLst>
              <a:ext uri="{FF2B5EF4-FFF2-40B4-BE49-F238E27FC236}">
                <a16:creationId xmlns:a16="http://schemas.microsoft.com/office/drawing/2014/main" id="{8B6C9407-5B2B-4D87-2393-C39E419F8B55}"/>
              </a:ext>
            </a:extLst>
          </p:cNvPr>
          <p:cNvSpPr/>
          <p:nvPr/>
        </p:nvSpPr>
        <p:spPr>
          <a:xfrm flipH="1">
            <a:off x="289830" y="2736178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0" name="Flowchart: Delay 6">
            <a:extLst>
              <a:ext uri="{FF2B5EF4-FFF2-40B4-BE49-F238E27FC236}">
                <a16:creationId xmlns:a16="http://schemas.microsoft.com/office/drawing/2014/main" id="{15CA8C87-254E-E747-1EDF-56DBF16D5BEE}"/>
              </a:ext>
            </a:extLst>
          </p:cNvPr>
          <p:cNvSpPr/>
          <p:nvPr/>
        </p:nvSpPr>
        <p:spPr>
          <a:xfrm flipH="1">
            <a:off x="289829" y="3926040"/>
            <a:ext cx="1073777" cy="1350710"/>
          </a:xfrm>
          <a:prstGeom prst="flowChartDelay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Trapezoid 7">
            <a:extLst>
              <a:ext uri="{FF2B5EF4-FFF2-40B4-BE49-F238E27FC236}">
                <a16:creationId xmlns:a16="http://schemas.microsoft.com/office/drawing/2014/main" id="{4A97A991-58F0-66B6-BF8F-595ED2D11D33}"/>
              </a:ext>
            </a:extLst>
          </p:cNvPr>
          <p:cNvSpPr/>
          <p:nvPr/>
        </p:nvSpPr>
        <p:spPr>
          <a:xfrm rot="5400000">
            <a:off x="3119379" y="3084432"/>
            <a:ext cx="1189860" cy="493356"/>
          </a:xfrm>
          <a:prstGeom prst="trapezoid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98DA2458-6A7B-60F9-214B-39DDA14F06AB}"/>
              </a:ext>
            </a:extLst>
          </p:cNvPr>
          <p:cNvSpPr/>
          <p:nvPr/>
        </p:nvSpPr>
        <p:spPr>
          <a:xfrm>
            <a:off x="3960986" y="1865547"/>
            <a:ext cx="3482523" cy="100557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3" name="Oval 14">
            <a:extLst>
              <a:ext uri="{FF2B5EF4-FFF2-40B4-BE49-F238E27FC236}">
                <a16:creationId xmlns:a16="http://schemas.microsoft.com/office/drawing/2014/main" id="{59AECD1E-3B63-B169-CDD1-24811FB702C2}"/>
              </a:ext>
            </a:extLst>
          </p:cNvPr>
          <p:cNvSpPr/>
          <p:nvPr/>
        </p:nvSpPr>
        <p:spPr>
          <a:xfrm>
            <a:off x="427680" y="1733138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18F009E0-294C-9D60-C919-1B60DB2D7D54}"/>
              </a:ext>
            </a:extLst>
          </p:cNvPr>
          <p:cNvSpPr/>
          <p:nvPr/>
        </p:nvSpPr>
        <p:spPr>
          <a:xfrm>
            <a:off x="427680" y="289071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5" name="Oval 16">
            <a:extLst>
              <a:ext uri="{FF2B5EF4-FFF2-40B4-BE49-F238E27FC236}">
                <a16:creationId xmlns:a16="http://schemas.microsoft.com/office/drawing/2014/main" id="{CD616EF6-811D-F8FA-DA38-FBF000B180F6}"/>
              </a:ext>
            </a:extLst>
          </p:cNvPr>
          <p:cNvSpPr/>
          <p:nvPr/>
        </p:nvSpPr>
        <p:spPr>
          <a:xfrm>
            <a:off x="475970" y="4237147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8EFEB94B-82EB-9C00-778A-25CF0080F766}"/>
              </a:ext>
            </a:extLst>
          </p:cNvPr>
          <p:cNvSpPr/>
          <p:nvPr/>
        </p:nvSpPr>
        <p:spPr>
          <a:xfrm>
            <a:off x="427680" y="291973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3106D97B-DD44-C746-BC34-41957161F15F}"/>
              </a:ext>
            </a:extLst>
          </p:cNvPr>
          <p:cNvSpPr/>
          <p:nvPr/>
        </p:nvSpPr>
        <p:spPr>
          <a:xfrm>
            <a:off x="3954248" y="1899573"/>
            <a:ext cx="3482523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d high advertising costs hinder traditional job recruitment processes.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70C2C6BE-B89B-2AFB-9497-D172407CF434}"/>
              </a:ext>
            </a:extLst>
          </p:cNvPr>
          <p:cNvSpPr/>
          <p:nvPr/>
        </p:nvSpPr>
        <p:spPr>
          <a:xfrm>
            <a:off x="3927070" y="2829048"/>
            <a:ext cx="3550351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ccess information about opportunities, limiting their chances of employment.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9742F200-6957-7F33-B79C-2F1E7736EFAD}"/>
              </a:ext>
            </a:extLst>
          </p:cNvPr>
          <p:cNvSpPr/>
          <p:nvPr/>
        </p:nvSpPr>
        <p:spPr>
          <a:xfrm>
            <a:off x="3954249" y="3732428"/>
            <a:ext cx="351644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, and CV evaluation due to format restrictions, data scarcity, and potential bias.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364AB8-A21C-571F-A326-4344931DBA8D}"/>
              </a:ext>
            </a:extLst>
          </p:cNvPr>
          <p:cNvSpPr/>
          <p:nvPr/>
        </p:nvSpPr>
        <p:spPr>
          <a:xfrm>
            <a:off x="1334583" y="1521376"/>
            <a:ext cx="2246198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eographical constraints, excessive paperwork, 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F58AC4C7-6F79-4DD8-FCC8-714DFFF7E214}"/>
              </a:ext>
            </a:extLst>
          </p:cNvPr>
          <p:cNvSpPr/>
          <p:nvPr/>
        </p:nvSpPr>
        <p:spPr>
          <a:xfrm>
            <a:off x="1349095" y="3011336"/>
            <a:ext cx="1557742" cy="6460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seekers struggle to </a:t>
            </a: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4504FAA8-6DA4-72B1-D606-EB20BE0E8CED}"/>
              </a:ext>
            </a:extLst>
          </p:cNvPr>
          <p:cNvSpPr/>
          <p:nvPr/>
        </p:nvSpPr>
        <p:spPr>
          <a:xfrm>
            <a:off x="1334583" y="3983871"/>
            <a:ext cx="244271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mitations in modern systems </a:t>
            </a:r>
          </a:p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resume recommendation</a:t>
            </a:r>
            <a:r>
              <a:rPr lang="en-US" sz="17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2" name="Content Placeholder 5">
            <a:extLst>
              <a:ext uri="{FF2B5EF4-FFF2-40B4-BE49-F238E27FC236}">
                <a16:creationId xmlns:a16="http://schemas.microsoft.com/office/drawing/2014/main" id="{34EED4B6-DE9C-2174-EE61-8BDB586A3272}"/>
              </a:ext>
            </a:extLst>
          </p:cNvPr>
          <p:cNvSpPr txBox="1">
            <a:spLocks/>
          </p:cNvSpPr>
          <p:nvPr/>
        </p:nvSpPr>
        <p:spPr>
          <a:xfrm>
            <a:off x="4004894" y="4922774"/>
            <a:ext cx="6029194" cy="58477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w AI Can Address HR Inefficiencies?</a:t>
            </a:r>
          </a:p>
        </p:txBody>
      </p:sp>
      <p:grpSp>
        <p:nvGrpSpPr>
          <p:cNvPr id="53" name="Google Shape;8552;p76">
            <a:extLst>
              <a:ext uri="{FF2B5EF4-FFF2-40B4-BE49-F238E27FC236}">
                <a16:creationId xmlns:a16="http://schemas.microsoft.com/office/drawing/2014/main" id="{328F1CAE-BB3B-CF0D-8679-CCA065ADE1B1}"/>
              </a:ext>
            </a:extLst>
          </p:cNvPr>
          <p:cNvGrpSpPr/>
          <p:nvPr/>
        </p:nvGrpSpPr>
        <p:grpSpPr>
          <a:xfrm>
            <a:off x="570018" y="4328178"/>
            <a:ext cx="645695" cy="640684"/>
            <a:chOff x="4102650" y="3665322"/>
            <a:chExt cx="408459" cy="384752"/>
          </a:xfrm>
        </p:grpSpPr>
        <p:sp>
          <p:nvSpPr>
            <p:cNvPr id="54" name="Google Shape;8553;p76">
              <a:extLst>
                <a:ext uri="{FF2B5EF4-FFF2-40B4-BE49-F238E27FC236}">
                  <a16:creationId xmlns:a16="http://schemas.microsoft.com/office/drawing/2014/main" id="{C4E04695-1E24-3FF0-A75B-005D61D304DB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554;p76">
              <a:extLst>
                <a:ext uri="{FF2B5EF4-FFF2-40B4-BE49-F238E27FC236}">
                  <a16:creationId xmlns:a16="http://schemas.microsoft.com/office/drawing/2014/main" id="{CDD27170-9167-5E23-7457-A84A0C70CCE6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6" name="Google Shape;8555;p76">
              <a:extLst>
                <a:ext uri="{FF2B5EF4-FFF2-40B4-BE49-F238E27FC236}">
                  <a16:creationId xmlns:a16="http://schemas.microsoft.com/office/drawing/2014/main" id="{89760BE7-FC30-E930-0B16-F2553AED108A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556;p76">
              <a:extLst>
                <a:ext uri="{FF2B5EF4-FFF2-40B4-BE49-F238E27FC236}">
                  <a16:creationId xmlns:a16="http://schemas.microsoft.com/office/drawing/2014/main" id="{D3F70235-F60A-356D-630C-70E3238B790F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557;p76">
              <a:extLst>
                <a:ext uri="{FF2B5EF4-FFF2-40B4-BE49-F238E27FC236}">
                  <a16:creationId xmlns:a16="http://schemas.microsoft.com/office/drawing/2014/main" id="{FD572DBE-4E41-408D-147F-31B4D0FDC73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9" name="Google Shape;8558;p76">
              <a:extLst>
                <a:ext uri="{FF2B5EF4-FFF2-40B4-BE49-F238E27FC236}">
                  <a16:creationId xmlns:a16="http://schemas.microsoft.com/office/drawing/2014/main" id="{72F68B35-63DB-190D-0715-6D7DB297D49A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1" name="رسم 60" descr="معلومات مع تعبئة خالصة">
            <a:extLst>
              <a:ext uri="{FF2B5EF4-FFF2-40B4-BE49-F238E27FC236}">
                <a16:creationId xmlns:a16="http://schemas.microsoft.com/office/drawing/2014/main" id="{726A6C35-9CDD-AAF7-08A4-DA0BFCD799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298" y="2905041"/>
            <a:ext cx="813136" cy="813136"/>
          </a:xfrm>
          <a:prstGeom prst="rect">
            <a:avLst/>
          </a:prstGeom>
        </p:spPr>
      </p:pic>
      <p:pic>
        <p:nvPicPr>
          <p:cNvPr id="63" name="رسم 62" descr="الكرة الأرضية: أفريقيا وأوروبا مع تعبئة خالصة">
            <a:extLst>
              <a:ext uri="{FF2B5EF4-FFF2-40B4-BE49-F238E27FC236}">
                <a16:creationId xmlns:a16="http://schemas.microsoft.com/office/drawing/2014/main" id="{900530D6-F1F1-CF48-96F7-581B915EFC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7083" y="1699319"/>
            <a:ext cx="914400" cy="914400"/>
          </a:xfrm>
          <a:prstGeom prst="rect">
            <a:avLst/>
          </a:prstGeom>
        </p:spPr>
      </p:pic>
      <p:pic>
        <p:nvPicPr>
          <p:cNvPr id="5" name="صورة 4" descr="صورة تحتوي على شعار, الرسومات, رمز, الخط&#10;&#10;تم إنشاء الوصف تلقائياً">
            <a:extLst>
              <a:ext uri="{FF2B5EF4-FFF2-40B4-BE49-F238E27FC236}">
                <a16:creationId xmlns:a16="http://schemas.microsoft.com/office/drawing/2014/main" id="{AEA7B10B-CE5E-4F84-13EF-F51B773F768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2" r="7381"/>
          <a:stretch/>
        </p:blipFill>
        <p:spPr>
          <a:xfrm>
            <a:off x="8028820" y="77715"/>
            <a:ext cx="4131212" cy="4704093"/>
          </a:xfrm>
          <a:prstGeom prst="rect">
            <a:avLst/>
          </a:prstGeom>
        </p:spPr>
      </p:pic>
      <p:grpSp>
        <p:nvGrpSpPr>
          <p:cNvPr id="70" name="Group 5">
            <a:extLst>
              <a:ext uri="{FF2B5EF4-FFF2-40B4-BE49-F238E27FC236}">
                <a16:creationId xmlns:a16="http://schemas.microsoft.com/office/drawing/2014/main" id="{F53722EA-E625-1316-2258-C299C37F78DF}"/>
              </a:ext>
            </a:extLst>
          </p:cNvPr>
          <p:cNvGrpSpPr/>
          <p:nvPr/>
        </p:nvGrpSpPr>
        <p:grpSpPr>
          <a:xfrm>
            <a:off x="228674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1" name="Rounded Rectangle 3">
              <a:extLst>
                <a:ext uri="{FF2B5EF4-FFF2-40B4-BE49-F238E27FC236}">
                  <a16:creationId xmlns:a16="http://schemas.microsoft.com/office/drawing/2014/main" id="{B8BFA1E8-EC66-4A4C-398F-48F9A6A31B78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ounded Rectangle 2">
              <a:extLst>
                <a:ext uri="{FF2B5EF4-FFF2-40B4-BE49-F238E27FC236}">
                  <a16:creationId xmlns:a16="http://schemas.microsoft.com/office/drawing/2014/main" id="{17E7C77B-4EA4-7094-2FAE-E9E93D60DDFF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ounded Rectangle 1">
              <a:extLst>
                <a:ext uri="{FF2B5EF4-FFF2-40B4-BE49-F238E27FC236}">
                  <a16:creationId xmlns:a16="http://schemas.microsoft.com/office/drawing/2014/main" id="{88F1527D-D92F-4300-AD3A-67792AB73E9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74" name="TextBox 19">
            <a:extLst>
              <a:ext uri="{FF2B5EF4-FFF2-40B4-BE49-F238E27FC236}">
                <a16:creationId xmlns:a16="http://schemas.microsoft.com/office/drawing/2014/main" id="{83EF711D-3649-EC29-8250-C12A073EE5B7}"/>
              </a:ext>
            </a:extLst>
          </p:cNvPr>
          <p:cNvSpPr txBox="1"/>
          <p:nvPr/>
        </p:nvSpPr>
        <p:spPr>
          <a:xfrm>
            <a:off x="-100784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screening</a:t>
            </a:r>
          </a:p>
        </p:txBody>
      </p:sp>
      <p:grpSp>
        <p:nvGrpSpPr>
          <p:cNvPr id="75" name="Group 5">
            <a:extLst>
              <a:ext uri="{FF2B5EF4-FFF2-40B4-BE49-F238E27FC236}">
                <a16:creationId xmlns:a16="http://schemas.microsoft.com/office/drawing/2014/main" id="{7D4B10BB-3141-C6E6-7AD3-E964212B1255}"/>
              </a:ext>
            </a:extLst>
          </p:cNvPr>
          <p:cNvGrpSpPr/>
          <p:nvPr/>
        </p:nvGrpSpPr>
        <p:grpSpPr>
          <a:xfrm>
            <a:off x="2063493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6" name="Rounded Rectangle 3">
              <a:extLst>
                <a:ext uri="{FF2B5EF4-FFF2-40B4-BE49-F238E27FC236}">
                  <a16:creationId xmlns:a16="http://schemas.microsoft.com/office/drawing/2014/main" id="{4988AC7C-D753-3F72-656C-200B777FE0A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ounded Rectangle 2">
              <a:extLst>
                <a:ext uri="{FF2B5EF4-FFF2-40B4-BE49-F238E27FC236}">
                  <a16:creationId xmlns:a16="http://schemas.microsoft.com/office/drawing/2014/main" id="{77A5E06F-37F7-E924-C107-D4B7AF362471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ounded Rectangle 1">
              <a:extLst>
                <a:ext uri="{FF2B5EF4-FFF2-40B4-BE49-F238E27FC236}">
                  <a16:creationId xmlns:a16="http://schemas.microsoft.com/office/drawing/2014/main" id="{C2B01C3F-8605-34C7-17AB-BBD4203DF411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79" name="TextBox 19">
            <a:extLst>
              <a:ext uri="{FF2B5EF4-FFF2-40B4-BE49-F238E27FC236}">
                <a16:creationId xmlns:a16="http://schemas.microsoft.com/office/drawing/2014/main" id="{C220DD46-BD5E-1FB7-26E9-6DA30B7CF3E7}"/>
              </a:ext>
            </a:extLst>
          </p:cNvPr>
          <p:cNvSpPr txBox="1"/>
          <p:nvPr/>
        </p:nvSpPr>
        <p:spPr>
          <a:xfrm>
            <a:off x="1710396" y="6154535"/>
            <a:ext cx="2104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andidate communication</a:t>
            </a:r>
          </a:p>
        </p:txBody>
      </p:sp>
      <p:grpSp>
        <p:nvGrpSpPr>
          <p:cNvPr id="82" name="Group 5">
            <a:extLst>
              <a:ext uri="{FF2B5EF4-FFF2-40B4-BE49-F238E27FC236}">
                <a16:creationId xmlns:a16="http://schemas.microsoft.com/office/drawing/2014/main" id="{728CC53F-49BC-6755-FAF8-F171508253DE}"/>
              </a:ext>
            </a:extLst>
          </p:cNvPr>
          <p:cNvGrpSpPr/>
          <p:nvPr/>
        </p:nvGrpSpPr>
        <p:grpSpPr>
          <a:xfrm>
            <a:off x="3984214" y="5602625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83" name="Rounded Rectangle 3">
              <a:extLst>
                <a:ext uri="{FF2B5EF4-FFF2-40B4-BE49-F238E27FC236}">
                  <a16:creationId xmlns:a16="http://schemas.microsoft.com/office/drawing/2014/main" id="{D97A9ACB-EA16-D588-1CB8-900DEA5F9D91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ounded Rectangle 2">
              <a:extLst>
                <a:ext uri="{FF2B5EF4-FFF2-40B4-BE49-F238E27FC236}">
                  <a16:creationId xmlns:a16="http://schemas.microsoft.com/office/drawing/2014/main" id="{78F49499-AA67-C2E6-76B0-262440355E55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ounded Rectangle 1">
              <a:extLst>
                <a:ext uri="{FF2B5EF4-FFF2-40B4-BE49-F238E27FC236}">
                  <a16:creationId xmlns:a16="http://schemas.microsoft.com/office/drawing/2014/main" id="{8669D22A-D85B-13BA-9525-F08241CE4D9C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86" name="TextBox 19">
            <a:extLst>
              <a:ext uri="{FF2B5EF4-FFF2-40B4-BE49-F238E27FC236}">
                <a16:creationId xmlns:a16="http://schemas.microsoft.com/office/drawing/2014/main" id="{9DFCE163-FF21-D8AC-D47E-1A91FF2CD44F}"/>
              </a:ext>
            </a:extLst>
          </p:cNvPr>
          <p:cNvSpPr txBox="1"/>
          <p:nvPr/>
        </p:nvSpPr>
        <p:spPr>
          <a:xfrm>
            <a:off x="3742552" y="6293034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nboarding</a:t>
            </a:r>
          </a:p>
        </p:txBody>
      </p:sp>
      <p:grpSp>
        <p:nvGrpSpPr>
          <p:cNvPr id="87" name="Group 5">
            <a:extLst>
              <a:ext uri="{FF2B5EF4-FFF2-40B4-BE49-F238E27FC236}">
                <a16:creationId xmlns:a16="http://schemas.microsoft.com/office/drawing/2014/main" id="{9C633512-2B85-AB1E-9C8A-7AD8EC3CB29A}"/>
              </a:ext>
            </a:extLst>
          </p:cNvPr>
          <p:cNvGrpSpPr/>
          <p:nvPr/>
        </p:nvGrpSpPr>
        <p:grpSpPr>
          <a:xfrm>
            <a:off x="6018057" y="5601266"/>
            <a:ext cx="1336953" cy="530726"/>
            <a:chOff x="1626919" y="3550723"/>
            <a:chExt cx="1425041" cy="808511"/>
          </a:xfrm>
          <a:solidFill>
            <a:schemeClr val="accent1"/>
          </a:solidFill>
        </p:grpSpPr>
        <p:sp>
          <p:nvSpPr>
            <p:cNvPr id="88" name="Rounded Rectangle 3">
              <a:extLst>
                <a:ext uri="{FF2B5EF4-FFF2-40B4-BE49-F238E27FC236}">
                  <a16:creationId xmlns:a16="http://schemas.microsoft.com/office/drawing/2014/main" id="{BE90D4B6-1CCD-E71E-F8F7-965D8733D9D5}"/>
                </a:ext>
              </a:extLst>
            </p:cNvPr>
            <p:cNvSpPr/>
            <p:nvPr/>
          </p:nvSpPr>
          <p:spPr>
            <a:xfrm>
              <a:off x="2256312" y="4062353"/>
              <a:ext cx="795648" cy="296881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Rounded Rectangle 2">
              <a:extLst>
                <a:ext uri="{FF2B5EF4-FFF2-40B4-BE49-F238E27FC236}">
                  <a16:creationId xmlns:a16="http://schemas.microsoft.com/office/drawing/2014/main" id="{B04FB5C9-6228-2394-7162-B3F8C0662628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ounded Rectangle 1">
              <a:extLst>
                <a:ext uri="{FF2B5EF4-FFF2-40B4-BE49-F238E27FC236}">
                  <a16:creationId xmlns:a16="http://schemas.microsoft.com/office/drawing/2014/main" id="{F936A4D1-83A7-0C83-8663-2B77CF8FFAAF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91" name="TextBox 19">
            <a:extLst>
              <a:ext uri="{FF2B5EF4-FFF2-40B4-BE49-F238E27FC236}">
                <a16:creationId xmlns:a16="http://schemas.microsoft.com/office/drawing/2014/main" id="{3CF9127D-F1CE-7ABD-4EFB-1888307BA48A}"/>
              </a:ext>
            </a:extLst>
          </p:cNvPr>
          <p:cNvSpPr txBox="1"/>
          <p:nvPr/>
        </p:nvSpPr>
        <p:spPr>
          <a:xfrm>
            <a:off x="5776395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erview scheduling</a:t>
            </a:r>
          </a:p>
        </p:txBody>
      </p:sp>
      <p:grpSp>
        <p:nvGrpSpPr>
          <p:cNvPr id="94" name="Group 5">
            <a:extLst>
              <a:ext uri="{FF2B5EF4-FFF2-40B4-BE49-F238E27FC236}">
                <a16:creationId xmlns:a16="http://schemas.microsoft.com/office/drawing/2014/main" id="{B6F73717-DAD1-D5DA-F683-1F9E25E44152}"/>
              </a:ext>
            </a:extLst>
          </p:cNvPr>
          <p:cNvGrpSpPr/>
          <p:nvPr/>
        </p:nvGrpSpPr>
        <p:grpSpPr>
          <a:xfrm>
            <a:off x="8322321" y="560524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95" name="Rounded Rectangle 3">
              <a:extLst>
                <a:ext uri="{FF2B5EF4-FFF2-40B4-BE49-F238E27FC236}">
                  <a16:creationId xmlns:a16="http://schemas.microsoft.com/office/drawing/2014/main" id="{071F16E8-65D7-08FC-5F8B-457A861C3D1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ounded Rectangle 2">
              <a:extLst>
                <a:ext uri="{FF2B5EF4-FFF2-40B4-BE49-F238E27FC236}">
                  <a16:creationId xmlns:a16="http://schemas.microsoft.com/office/drawing/2014/main" id="{C4672343-7851-1867-57D2-9A3B9CE7200D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ounded Rectangle 1">
              <a:extLst>
                <a:ext uri="{FF2B5EF4-FFF2-40B4-BE49-F238E27FC236}">
                  <a16:creationId xmlns:a16="http://schemas.microsoft.com/office/drawing/2014/main" id="{5A988145-8AE9-AB4C-8FA2-3A7B11385E2B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</a:p>
          </p:txBody>
        </p:sp>
      </p:grpSp>
      <p:sp>
        <p:nvSpPr>
          <p:cNvPr id="98" name="TextBox 19">
            <a:extLst>
              <a:ext uri="{FF2B5EF4-FFF2-40B4-BE49-F238E27FC236}">
                <a16:creationId xmlns:a16="http://schemas.microsoft.com/office/drawing/2014/main" id="{DF28B834-35A9-55DA-B458-2425DFCA0A4A}"/>
              </a:ext>
            </a:extLst>
          </p:cNvPr>
          <p:cNvSpPr txBox="1"/>
          <p:nvPr/>
        </p:nvSpPr>
        <p:spPr>
          <a:xfrm>
            <a:off x="8027857" y="6275899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re-screening</a:t>
            </a:r>
          </a:p>
        </p:txBody>
      </p:sp>
      <p:grpSp>
        <p:nvGrpSpPr>
          <p:cNvPr id="99" name="Group 5">
            <a:extLst>
              <a:ext uri="{FF2B5EF4-FFF2-40B4-BE49-F238E27FC236}">
                <a16:creationId xmlns:a16="http://schemas.microsoft.com/office/drawing/2014/main" id="{E564480E-C881-3B74-46EA-3BE382417736}"/>
              </a:ext>
            </a:extLst>
          </p:cNvPr>
          <p:cNvGrpSpPr/>
          <p:nvPr/>
        </p:nvGrpSpPr>
        <p:grpSpPr>
          <a:xfrm>
            <a:off x="10505033" y="5601270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100" name="Rounded Rectangle 3">
              <a:extLst>
                <a:ext uri="{FF2B5EF4-FFF2-40B4-BE49-F238E27FC236}">
                  <a16:creationId xmlns:a16="http://schemas.microsoft.com/office/drawing/2014/main" id="{88DC8E93-1B59-D650-313B-E73EF1ACF0E6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Rounded Rectangle 2">
              <a:extLst>
                <a:ext uri="{FF2B5EF4-FFF2-40B4-BE49-F238E27FC236}">
                  <a16:creationId xmlns:a16="http://schemas.microsoft.com/office/drawing/2014/main" id="{8D72ECDE-4696-17CA-C143-5AD685BF17D9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Rounded Rectangle 1">
              <a:extLst>
                <a:ext uri="{FF2B5EF4-FFF2-40B4-BE49-F238E27FC236}">
                  <a16:creationId xmlns:a16="http://schemas.microsoft.com/office/drawing/2014/main" id="{D80239CF-FC47-2314-BFAA-3BF26E6C135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</a:p>
          </p:txBody>
        </p:sp>
      </p:grpSp>
      <p:sp>
        <p:nvSpPr>
          <p:cNvPr id="103" name="TextBox 19">
            <a:extLst>
              <a:ext uri="{FF2B5EF4-FFF2-40B4-BE49-F238E27FC236}">
                <a16:creationId xmlns:a16="http://schemas.microsoft.com/office/drawing/2014/main" id="{0B7F8DB6-E196-497E-31E8-D86684DDDD45}"/>
              </a:ext>
            </a:extLst>
          </p:cNvPr>
          <p:cNvSpPr txBox="1"/>
          <p:nvPr/>
        </p:nvSpPr>
        <p:spPr>
          <a:xfrm>
            <a:off x="10279706" y="6159806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ourcing candidates</a:t>
            </a:r>
          </a:p>
        </p:txBody>
      </p:sp>
    </p:spTree>
    <p:extLst>
      <p:ext uri="{BB962C8B-B14F-4D97-AF65-F5344CB8AC3E}">
        <p14:creationId xmlns:p14="http://schemas.microsoft.com/office/powerpoint/2010/main" val="1372751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1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8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5" fill="hold">
                      <p:stCondLst>
                        <p:cond delay="indefinite"/>
                      </p:stCondLst>
                      <p:childTnLst>
                        <p:par>
                          <p:cTn id="436" fill="hold">
                            <p:stCondLst>
                              <p:cond delay="0"/>
                            </p:stCondLst>
                            <p:childTnLst>
                              <p:par>
                                <p:cTn id="4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1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4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6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7" fill="hold">
                      <p:stCondLst>
                        <p:cond delay="indefinite"/>
                      </p:stCondLst>
                      <p:childTnLst>
                        <p:par>
                          <p:cTn id="448" fill="hold">
                            <p:stCondLst>
                              <p:cond delay="0"/>
                            </p:stCondLst>
                            <p:childTnLst>
                              <p:par>
                                <p:cTn id="44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4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5" fill="hold">
                      <p:stCondLst>
                        <p:cond delay="indefinite"/>
                      </p:stCondLst>
                      <p:childTnLst>
                        <p:par>
                          <p:cTn id="456" fill="hold">
                            <p:stCondLst>
                              <p:cond delay="0"/>
                            </p:stCondLst>
                            <p:childTnLst>
                              <p:par>
                                <p:cTn id="45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9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2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7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0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5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8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9" fill="hold">
                      <p:stCondLst>
                        <p:cond delay="indefinite"/>
                      </p:stCondLst>
                      <p:childTnLst>
                        <p:par>
                          <p:cTn id="480" fill="hold">
                            <p:stCondLst>
                              <p:cond delay="0"/>
                            </p:stCondLst>
                            <p:childTnLst>
                              <p:par>
                                <p:cTn id="48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3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6" dur="7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1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4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7" grpId="0" animBg="1"/>
      <p:bldP spid="3" grpId="0" animBg="1"/>
      <p:bldP spid="28" grpId="0"/>
      <p:bldP spid="2" grpId="0"/>
      <p:bldP spid="4" grpId="0" animBg="1"/>
      <p:bldP spid="7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9" grpId="0"/>
      <p:bldP spid="30" grpId="0"/>
      <p:bldP spid="31" grpId="0"/>
      <p:bldP spid="32" grpId="0"/>
      <p:bldP spid="33" grpId="0"/>
      <p:bldP spid="52" grpId="0"/>
      <p:bldP spid="74" grpId="0"/>
      <p:bldP spid="79" grpId="0"/>
      <p:bldP spid="86" grpId="0"/>
      <p:bldP spid="91" grpId="0"/>
      <p:bldP spid="98" grpId="0"/>
      <p:bldP spid="10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78590-ED6C-877D-4AE7-0098E5D4D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id="{3DDD3615-79D6-8140-10BE-C05836AD62AF}"/>
              </a:ext>
            </a:extLst>
          </p:cNvPr>
          <p:cNvSpPr/>
          <p:nvPr/>
        </p:nvSpPr>
        <p:spPr>
          <a:xfrm>
            <a:off x="168240" y="1985968"/>
            <a:ext cx="3503028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D444EB5D-6506-E6D6-1395-1C522904D36D}"/>
              </a:ext>
            </a:extLst>
          </p:cNvPr>
          <p:cNvSpPr/>
          <p:nvPr/>
        </p:nvSpPr>
        <p:spPr>
          <a:xfrm>
            <a:off x="206924" y="2972585"/>
            <a:ext cx="3336013" cy="34707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powered Recruitment and Talent Acquisi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nabled Performance Management and Evalua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Evolution of HRM: From Traditional to Cutting-Edge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driven Employee Engagement and Retention Strategies</a:t>
            </a: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56CA8EB6-F28E-FD09-70FC-A1DA31EEAE08}"/>
              </a:ext>
            </a:extLst>
          </p:cNvPr>
          <p:cNvSpPr/>
          <p:nvPr/>
        </p:nvSpPr>
        <p:spPr>
          <a:xfrm>
            <a:off x="3644406" y="1993228"/>
            <a:ext cx="3061619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973CDD03-0C1A-60DC-9FCE-BC3D30218F5C}"/>
              </a:ext>
            </a:extLst>
          </p:cNvPr>
          <p:cNvSpPr/>
          <p:nvPr/>
        </p:nvSpPr>
        <p:spPr>
          <a:xfrm>
            <a:off x="3671268" y="2979845"/>
            <a:ext cx="2870906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Parsing and Candidate Scree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s for Candidate and Employee Queri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67" name="Freeform 5">
            <a:extLst>
              <a:ext uri="{FF2B5EF4-FFF2-40B4-BE49-F238E27FC236}">
                <a16:creationId xmlns:a16="http://schemas.microsoft.com/office/drawing/2014/main" id="{2B5391C8-4B52-11EE-DF20-CDC4EEF3BD61}"/>
              </a:ext>
            </a:extLst>
          </p:cNvPr>
          <p:cNvSpPr/>
          <p:nvPr/>
        </p:nvSpPr>
        <p:spPr>
          <a:xfrm>
            <a:off x="6683736" y="1985968"/>
            <a:ext cx="2911256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id="{41B1EB26-7FBE-5D69-B73F-DD87435E46B8}"/>
              </a:ext>
            </a:extLst>
          </p:cNvPr>
          <p:cNvSpPr/>
          <p:nvPr/>
        </p:nvSpPr>
        <p:spPr>
          <a:xfrm>
            <a:off x="6710597" y="2972585"/>
            <a:ext cx="2703149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ompliance Monitoring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81021E7A-E569-5469-1A18-7F19C988E00C}"/>
              </a:ext>
            </a:extLst>
          </p:cNvPr>
          <p:cNvSpPr/>
          <p:nvPr/>
        </p:nvSpPr>
        <p:spPr>
          <a:xfrm>
            <a:off x="9601616" y="1978709"/>
            <a:ext cx="2405215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902E1775-22CA-3700-B07E-9701BAD487A9}"/>
              </a:ext>
            </a:extLst>
          </p:cNvPr>
          <p:cNvSpPr/>
          <p:nvPr/>
        </p:nvSpPr>
        <p:spPr>
          <a:xfrm>
            <a:off x="9752156" y="3025867"/>
            <a:ext cx="1845142" cy="177749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efine Objectiv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dentify Key Metrics</a:t>
            </a:r>
          </a:p>
        </p:txBody>
      </p:sp>
      <p:grpSp>
        <p:nvGrpSpPr>
          <p:cNvPr id="132" name="مجموعة 131">
            <a:extLst>
              <a:ext uri="{FF2B5EF4-FFF2-40B4-BE49-F238E27FC236}">
                <a16:creationId xmlns:a16="http://schemas.microsoft.com/office/drawing/2014/main" id="{459E3A5B-C027-F79A-BA4A-59DF6068EF73}"/>
              </a:ext>
            </a:extLst>
          </p:cNvPr>
          <p:cNvGrpSpPr/>
          <p:nvPr/>
        </p:nvGrpSpPr>
        <p:grpSpPr>
          <a:xfrm>
            <a:off x="3644404" y="1875516"/>
            <a:ext cx="2958522" cy="956935"/>
            <a:chOff x="3644404" y="1875516"/>
            <a:chExt cx="2958522" cy="956935"/>
          </a:xfrm>
        </p:grpSpPr>
        <p:grpSp>
          <p:nvGrpSpPr>
            <p:cNvPr id="62" name="مجموعة 61">
              <a:extLst>
                <a:ext uri="{FF2B5EF4-FFF2-40B4-BE49-F238E27FC236}">
                  <a16:creationId xmlns:a16="http://schemas.microsoft.com/office/drawing/2014/main" id="{69EB9902-9C7C-0631-CB42-21DD8A1D79C9}"/>
                </a:ext>
              </a:extLst>
            </p:cNvPr>
            <p:cNvGrpSpPr/>
            <p:nvPr/>
          </p:nvGrpSpPr>
          <p:grpSpPr>
            <a:xfrm>
              <a:off x="3644404" y="1875516"/>
              <a:ext cx="2958522" cy="956935"/>
              <a:chOff x="168239" y="1868256"/>
              <a:chExt cx="3386342" cy="956935"/>
            </a:xfrm>
          </p:grpSpPr>
          <p:sp>
            <p:nvSpPr>
              <p:cNvPr id="63" name="Freeform 15">
                <a:extLst>
                  <a:ext uri="{FF2B5EF4-FFF2-40B4-BE49-F238E27FC236}">
                    <a16:creationId xmlns:a16="http://schemas.microsoft.com/office/drawing/2014/main" id="{466F6764-AFBF-4DCC-27A5-584B0ABA4C6B}"/>
                  </a:ext>
                </a:extLst>
              </p:cNvPr>
              <p:cNvSpPr/>
              <p:nvPr/>
            </p:nvSpPr>
            <p:spPr>
              <a:xfrm>
                <a:off x="3118502" y="1873027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Freeform 16">
                <a:extLst>
                  <a:ext uri="{FF2B5EF4-FFF2-40B4-BE49-F238E27FC236}">
                    <a16:creationId xmlns:a16="http://schemas.microsoft.com/office/drawing/2014/main" id="{BAF5CBCB-3BB9-5B6D-9359-A3D14B8A50AF}"/>
                  </a:ext>
                </a:extLst>
              </p:cNvPr>
              <p:cNvSpPr/>
              <p:nvPr/>
            </p:nvSpPr>
            <p:spPr>
              <a:xfrm>
                <a:off x="168239" y="186825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A6375202-80B2-EE40-2493-BEB03073BD6B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8" name="مجموعة 127">
              <a:extLst>
                <a:ext uri="{FF2B5EF4-FFF2-40B4-BE49-F238E27FC236}">
                  <a16:creationId xmlns:a16="http://schemas.microsoft.com/office/drawing/2014/main" id="{4A3D664A-B4B0-4A80-10D7-F1ED7E0C7B0A}"/>
                </a:ext>
              </a:extLst>
            </p:cNvPr>
            <p:cNvGrpSpPr/>
            <p:nvPr/>
          </p:nvGrpSpPr>
          <p:grpSpPr>
            <a:xfrm>
              <a:off x="4629800" y="2510023"/>
              <a:ext cx="971903" cy="255884"/>
              <a:chOff x="4473024" y="1481224"/>
              <a:chExt cx="942787" cy="239866"/>
            </a:xfrm>
          </p:grpSpPr>
          <p:sp>
            <p:nvSpPr>
              <p:cNvPr id="129" name="Oval 8">
                <a:extLst>
                  <a:ext uri="{FF2B5EF4-FFF2-40B4-BE49-F238E27FC236}">
                    <a16:creationId xmlns:a16="http://schemas.microsoft.com/office/drawing/2014/main" id="{471A5A8B-88C1-E3AB-D8E1-7055E52854DA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9">
                <a:extLst>
                  <a:ext uri="{FF2B5EF4-FFF2-40B4-BE49-F238E27FC236}">
                    <a16:creationId xmlns:a16="http://schemas.microsoft.com/office/drawing/2014/main" id="{DF0A3A59-8C42-A065-AF1B-51BC3D96A81F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id="{AB067207-46AC-1A3A-6DC9-E51B8F747DDF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37" name="مجموعة 136">
            <a:extLst>
              <a:ext uri="{FF2B5EF4-FFF2-40B4-BE49-F238E27FC236}">
                <a16:creationId xmlns:a16="http://schemas.microsoft.com/office/drawing/2014/main" id="{462B7768-0582-E7A6-7DBD-05570E32E5BA}"/>
              </a:ext>
            </a:extLst>
          </p:cNvPr>
          <p:cNvGrpSpPr/>
          <p:nvPr/>
        </p:nvGrpSpPr>
        <p:grpSpPr>
          <a:xfrm>
            <a:off x="6683734" y="1878424"/>
            <a:ext cx="2813828" cy="946767"/>
            <a:chOff x="6683734" y="1878424"/>
            <a:chExt cx="2813828" cy="946767"/>
          </a:xfrm>
        </p:grpSpPr>
        <p:grpSp>
          <p:nvGrpSpPr>
            <p:cNvPr id="74" name="مجموعة 73">
              <a:extLst>
                <a:ext uri="{FF2B5EF4-FFF2-40B4-BE49-F238E27FC236}">
                  <a16:creationId xmlns:a16="http://schemas.microsoft.com/office/drawing/2014/main" id="{7F7DDCBA-274B-C20E-3A6E-7B3D53EC68F9}"/>
                </a:ext>
              </a:extLst>
            </p:cNvPr>
            <p:cNvGrpSpPr/>
            <p:nvPr/>
          </p:nvGrpSpPr>
          <p:grpSpPr>
            <a:xfrm>
              <a:off x="6683734" y="1878424"/>
              <a:ext cx="2813828" cy="946767"/>
              <a:chOff x="168239" y="1878424"/>
              <a:chExt cx="3338717" cy="946767"/>
            </a:xfrm>
          </p:grpSpPr>
          <p:sp>
            <p:nvSpPr>
              <p:cNvPr id="103" name="Freeform 15">
                <a:extLst>
                  <a:ext uri="{FF2B5EF4-FFF2-40B4-BE49-F238E27FC236}">
                    <a16:creationId xmlns:a16="http://schemas.microsoft.com/office/drawing/2014/main" id="{526F769D-1AFA-80A9-A531-03709B0960D2}"/>
                  </a:ext>
                </a:extLst>
              </p:cNvPr>
              <p:cNvSpPr/>
              <p:nvPr/>
            </p:nvSpPr>
            <p:spPr>
              <a:xfrm>
                <a:off x="3070877" y="1892080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Freeform 16">
                <a:extLst>
                  <a:ext uri="{FF2B5EF4-FFF2-40B4-BE49-F238E27FC236}">
                    <a16:creationId xmlns:a16="http://schemas.microsoft.com/office/drawing/2014/main" id="{900BAFA3-B3F0-FEF3-A080-CD61B09C04AD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Freeform 19">
                <a:extLst>
                  <a:ext uri="{FF2B5EF4-FFF2-40B4-BE49-F238E27FC236}">
                    <a16:creationId xmlns:a16="http://schemas.microsoft.com/office/drawing/2014/main" id="{EA9DB246-B1F1-F1FA-3FC1-A7353DFEA9CD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3" name="مجموعة 132">
              <a:extLst>
                <a:ext uri="{FF2B5EF4-FFF2-40B4-BE49-F238E27FC236}">
                  <a16:creationId xmlns:a16="http://schemas.microsoft.com/office/drawing/2014/main" id="{8FFA4773-CAAC-B3CD-5B03-79768B6ED406}"/>
                </a:ext>
              </a:extLst>
            </p:cNvPr>
            <p:cNvGrpSpPr/>
            <p:nvPr/>
          </p:nvGrpSpPr>
          <p:grpSpPr>
            <a:xfrm>
              <a:off x="7726107" y="2449844"/>
              <a:ext cx="779264" cy="255884"/>
              <a:chOff x="4576707" y="1481224"/>
              <a:chExt cx="755919" cy="239866"/>
            </a:xfrm>
          </p:grpSpPr>
          <p:sp>
            <p:nvSpPr>
              <p:cNvPr id="134" name="Oval 8">
                <a:extLst>
                  <a:ext uri="{FF2B5EF4-FFF2-40B4-BE49-F238E27FC236}">
                    <a16:creationId xmlns:a16="http://schemas.microsoft.com/office/drawing/2014/main" id="{539A89C1-3DAE-63D4-6B9B-A8AE4656692C}"/>
                  </a:ext>
                </a:extLst>
              </p:cNvPr>
              <p:cNvSpPr/>
              <p:nvPr/>
            </p:nvSpPr>
            <p:spPr>
              <a:xfrm>
                <a:off x="4576707" y="1557839"/>
                <a:ext cx="755919" cy="42857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Oval 9">
                <a:extLst>
                  <a:ext uri="{FF2B5EF4-FFF2-40B4-BE49-F238E27FC236}">
                    <a16:creationId xmlns:a16="http://schemas.microsoft.com/office/drawing/2014/main" id="{4BE888DF-853A-0CC9-0AE4-74AA5111F6A0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3B1FA49D-E5F4-3645-94C8-B8400C5EBA1E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2" name="مجموعة 141">
            <a:extLst>
              <a:ext uri="{FF2B5EF4-FFF2-40B4-BE49-F238E27FC236}">
                <a16:creationId xmlns:a16="http://schemas.microsoft.com/office/drawing/2014/main" id="{ADD789C4-AE25-9F9F-FB4E-7ED82C5ED2B2}"/>
              </a:ext>
            </a:extLst>
          </p:cNvPr>
          <p:cNvGrpSpPr/>
          <p:nvPr/>
        </p:nvGrpSpPr>
        <p:grpSpPr>
          <a:xfrm>
            <a:off x="9598888" y="1859678"/>
            <a:ext cx="2395530" cy="958253"/>
            <a:chOff x="9598888" y="1859678"/>
            <a:chExt cx="2395530" cy="958253"/>
          </a:xfrm>
        </p:grpSpPr>
        <p:grpSp>
          <p:nvGrpSpPr>
            <p:cNvPr id="119" name="مجموعة 118">
              <a:extLst>
                <a:ext uri="{FF2B5EF4-FFF2-40B4-BE49-F238E27FC236}">
                  <a16:creationId xmlns:a16="http://schemas.microsoft.com/office/drawing/2014/main" id="{3449DDD7-FAB4-2656-E451-D2EBB250D1B0}"/>
                </a:ext>
              </a:extLst>
            </p:cNvPr>
            <p:cNvGrpSpPr/>
            <p:nvPr/>
          </p:nvGrpSpPr>
          <p:grpSpPr>
            <a:xfrm>
              <a:off x="9598888" y="1859678"/>
              <a:ext cx="2395530" cy="958253"/>
              <a:chOff x="168239" y="1866938"/>
              <a:chExt cx="3361109" cy="958253"/>
            </a:xfrm>
          </p:grpSpPr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76267DC4-D746-BC47-663F-8CE6694C681E}"/>
                  </a:ext>
                </a:extLst>
              </p:cNvPr>
              <p:cNvSpPr/>
              <p:nvPr/>
            </p:nvSpPr>
            <p:spPr>
              <a:xfrm>
                <a:off x="3093269" y="1866938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Freeform 16">
                <a:extLst>
                  <a:ext uri="{FF2B5EF4-FFF2-40B4-BE49-F238E27FC236}">
                    <a16:creationId xmlns:a16="http://schemas.microsoft.com/office/drawing/2014/main" id="{0C406272-4226-BCC5-B2F8-60D93FF1C01B}"/>
                  </a:ext>
                </a:extLst>
              </p:cNvPr>
              <p:cNvSpPr/>
              <p:nvPr/>
            </p:nvSpPr>
            <p:spPr>
              <a:xfrm>
                <a:off x="168239" y="1881508"/>
                <a:ext cx="663764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AC3FE936-DFE2-2B0C-4924-CE404807FB51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مجموعة 8">
              <a:extLst>
                <a:ext uri="{FF2B5EF4-FFF2-40B4-BE49-F238E27FC236}">
                  <a16:creationId xmlns:a16="http://schemas.microsoft.com/office/drawing/2014/main" id="{0287D147-4808-B7E3-19C4-64B7F30CFDFE}"/>
                </a:ext>
              </a:extLst>
            </p:cNvPr>
            <p:cNvGrpSpPr/>
            <p:nvPr/>
          </p:nvGrpSpPr>
          <p:grpSpPr>
            <a:xfrm>
              <a:off x="10517611" y="2472958"/>
              <a:ext cx="687416" cy="255884"/>
              <a:chOff x="4648528" y="1481224"/>
              <a:chExt cx="666822" cy="239866"/>
            </a:xfrm>
          </p:grpSpPr>
          <p:sp>
            <p:nvSpPr>
              <p:cNvPr id="10" name="Oval 8">
                <a:extLst>
                  <a:ext uri="{FF2B5EF4-FFF2-40B4-BE49-F238E27FC236}">
                    <a16:creationId xmlns:a16="http://schemas.microsoft.com/office/drawing/2014/main" id="{9BB340F5-EF1B-DDDC-440A-ACE2658C805C}"/>
                  </a:ext>
                </a:extLst>
              </p:cNvPr>
              <p:cNvSpPr/>
              <p:nvPr/>
            </p:nvSpPr>
            <p:spPr>
              <a:xfrm>
                <a:off x="4648528" y="1532129"/>
                <a:ext cx="666822" cy="89744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9">
                <a:extLst>
                  <a:ext uri="{FF2B5EF4-FFF2-40B4-BE49-F238E27FC236}">
                    <a16:creationId xmlns:a16="http://schemas.microsoft.com/office/drawing/2014/main" id="{F2433F7A-2D06-3198-518A-ECF0B8444E7C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02D52C43-C543-C8C5-ABF7-BA067EF35F94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27" name="مجموعة 126">
            <a:extLst>
              <a:ext uri="{FF2B5EF4-FFF2-40B4-BE49-F238E27FC236}">
                <a16:creationId xmlns:a16="http://schemas.microsoft.com/office/drawing/2014/main" id="{99F986CB-9716-3DA6-2913-19E3D476C0C9}"/>
              </a:ext>
            </a:extLst>
          </p:cNvPr>
          <p:cNvGrpSpPr/>
          <p:nvPr/>
        </p:nvGrpSpPr>
        <p:grpSpPr>
          <a:xfrm>
            <a:off x="182811" y="1878424"/>
            <a:ext cx="3374698" cy="953377"/>
            <a:chOff x="168239" y="1879604"/>
            <a:chExt cx="3374698" cy="953377"/>
          </a:xfrm>
        </p:grpSpPr>
        <p:grpSp>
          <p:nvGrpSpPr>
            <p:cNvPr id="57" name="مجموعة 56">
              <a:extLst>
                <a:ext uri="{FF2B5EF4-FFF2-40B4-BE49-F238E27FC236}">
                  <a16:creationId xmlns:a16="http://schemas.microsoft.com/office/drawing/2014/main" id="{A4C7DB87-C459-DDED-9C85-197FD9793AC1}"/>
                </a:ext>
              </a:extLst>
            </p:cNvPr>
            <p:cNvGrpSpPr/>
            <p:nvPr/>
          </p:nvGrpSpPr>
          <p:grpSpPr>
            <a:xfrm>
              <a:off x="168239" y="1879604"/>
              <a:ext cx="3374698" cy="953377"/>
              <a:chOff x="168239" y="1879604"/>
              <a:chExt cx="3374698" cy="953377"/>
            </a:xfrm>
          </p:grpSpPr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CA31D8E6-17B0-E26B-6DE7-A4DED736011E}"/>
                  </a:ext>
                </a:extLst>
              </p:cNvPr>
              <p:cNvSpPr/>
              <p:nvPr/>
            </p:nvSpPr>
            <p:spPr>
              <a:xfrm>
                <a:off x="3106858" y="1879604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6B13C5DC-FDAA-D13B-3E50-722907B59D1B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216FC4B1-8F8C-CAD6-58A7-EBE618BE1FE7}"/>
                  </a:ext>
                </a:extLst>
              </p:cNvPr>
              <p:cNvSpPr/>
              <p:nvPr/>
            </p:nvSpPr>
            <p:spPr>
              <a:xfrm>
                <a:off x="445937" y="188621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" name="مجموعة 122">
              <a:extLst>
                <a:ext uri="{FF2B5EF4-FFF2-40B4-BE49-F238E27FC236}">
                  <a16:creationId xmlns:a16="http://schemas.microsoft.com/office/drawing/2014/main" id="{0C108CF9-3C4D-E24C-554E-1471793CBD8B}"/>
                </a:ext>
              </a:extLst>
            </p:cNvPr>
            <p:cNvGrpSpPr/>
            <p:nvPr/>
          </p:nvGrpSpPr>
          <p:grpSpPr>
            <a:xfrm>
              <a:off x="1388978" y="2502438"/>
              <a:ext cx="971903" cy="255884"/>
              <a:chOff x="4473024" y="1481224"/>
              <a:chExt cx="942787" cy="239866"/>
            </a:xfrm>
          </p:grpSpPr>
          <p:sp>
            <p:nvSpPr>
              <p:cNvPr id="124" name="Oval 8">
                <a:extLst>
                  <a:ext uri="{FF2B5EF4-FFF2-40B4-BE49-F238E27FC236}">
                    <a16:creationId xmlns:a16="http://schemas.microsoft.com/office/drawing/2014/main" id="{0E02D3C9-90B0-DE17-93B8-B6AD2805F0E8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Oval 9">
                <a:extLst>
                  <a:ext uri="{FF2B5EF4-FFF2-40B4-BE49-F238E27FC236}">
                    <a16:creationId xmlns:a16="http://schemas.microsoft.com/office/drawing/2014/main" id="{FCD594C4-1557-E11F-DB95-15522EB3B854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Freeform 11">
                <a:extLst>
                  <a:ext uri="{FF2B5EF4-FFF2-40B4-BE49-F238E27FC236}">
                    <a16:creationId xmlns:a16="http://schemas.microsoft.com/office/drawing/2014/main" id="{692454C8-C499-D9D8-4327-106D63253AC5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6" name="TextBox 10">
            <a:extLst>
              <a:ext uri="{FF2B5EF4-FFF2-40B4-BE49-F238E27FC236}">
                <a16:creationId xmlns:a16="http://schemas.microsoft.com/office/drawing/2014/main" id="{3A2571A1-B079-007D-CD11-ACFE79BF5576}"/>
              </a:ext>
            </a:extLst>
          </p:cNvPr>
          <p:cNvSpPr txBox="1"/>
          <p:nvPr/>
        </p:nvSpPr>
        <p:spPr>
          <a:xfrm>
            <a:off x="693598" y="1878107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enefits of integrating AI into HR systems</a:t>
            </a:r>
          </a:p>
        </p:txBody>
      </p:sp>
      <p:sp>
        <p:nvSpPr>
          <p:cNvPr id="147" name="TextBox 10">
            <a:extLst>
              <a:ext uri="{FF2B5EF4-FFF2-40B4-BE49-F238E27FC236}">
                <a16:creationId xmlns:a16="http://schemas.microsoft.com/office/drawing/2014/main" id="{2FC7B637-FD75-F3D4-C242-659018C36350}"/>
              </a:ext>
            </a:extLst>
          </p:cNvPr>
          <p:cNvSpPr txBox="1"/>
          <p:nvPr/>
        </p:nvSpPr>
        <p:spPr>
          <a:xfrm>
            <a:off x="3893235" y="1841285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Key functions AI can serve in AI-EHRMS</a:t>
            </a:r>
          </a:p>
        </p:txBody>
      </p:sp>
      <p:sp>
        <p:nvSpPr>
          <p:cNvPr id="148" name="TextBox 10">
            <a:extLst>
              <a:ext uri="{FF2B5EF4-FFF2-40B4-BE49-F238E27FC236}">
                <a16:creationId xmlns:a16="http://schemas.microsoft.com/office/drawing/2014/main" id="{48027BBE-FA14-6289-B99F-A8F61D685DED}"/>
              </a:ext>
            </a:extLst>
          </p:cNvPr>
          <p:cNvSpPr txBox="1"/>
          <p:nvPr/>
        </p:nvSpPr>
        <p:spPr>
          <a:xfrm>
            <a:off x="6871300" y="1854108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ools that may be added in the future</a:t>
            </a:r>
          </a:p>
        </p:txBody>
      </p:sp>
      <p:sp>
        <p:nvSpPr>
          <p:cNvPr id="149" name="TextBox 10">
            <a:extLst>
              <a:ext uri="{FF2B5EF4-FFF2-40B4-BE49-F238E27FC236}">
                <a16:creationId xmlns:a16="http://schemas.microsoft.com/office/drawing/2014/main" id="{7361A079-4727-DB26-B3C7-447E4C64857A}"/>
              </a:ext>
            </a:extLst>
          </p:cNvPr>
          <p:cNvSpPr txBox="1"/>
          <p:nvPr/>
        </p:nvSpPr>
        <p:spPr>
          <a:xfrm>
            <a:off x="9562812" y="1796725"/>
            <a:ext cx="2569669" cy="5386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valuating AI impact on HRM outcomes</a:t>
            </a:r>
          </a:p>
        </p:txBody>
      </p:sp>
      <p:sp>
        <p:nvSpPr>
          <p:cNvPr id="150" name="مخطط انسيابي: مستند 149">
            <a:extLst>
              <a:ext uri="{FF2B5EF4-FFF2-40B4-BE49-F238E27FC236}">
                <a16:creationId xmlns:a16="http://schemas.microsoft.com/office/drawing/2014/main" id="{55EADAB8-9F0B-4013-B871-483BBF0F2D74}"/>
              </a:ext>
            </a:extLst>
          </p:cNvPr>
          <p:cNvSpPr/>
          <p:nvPr/>
        </p:nvSpPr>
        <p:spPr>
          <a:xfrm flipH="1">
            <a:off x="154742" y="333241"/>
            <a:ext cx="1780309" cy="1024477"/>
          </a:xfrm>
          <a:prstGeom prst="flowChartDocumen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51" name="Picture 39" descr="A cartoon character with a black background">
            <a:extLst>
              <a:ext uri="{FF2B5EF4-FFF2-40B4-BE49-F238E27FC236}">
                <a16:creationId xmlns:a16="http://schemas.microsoft.com/office/drawing/2014/main" id="{E0AE9ED0-BDA0-0B6D-3B2A-E3E408A7BD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575" y="-369800"/>
            <a:ext cx="2517829" cy="2566672"/>
          </a:xfrm>
          <a:prstGeom prst="rect">
            <a:avLst/>
          </a:prstGeom>
        </p:spPr>
      </p:pic>
      <p:sp>
        <p:nvSpPr>
          <p:cNvPr id="152" name="TextBox 27">
            <a:extLst>
              <a:ext uri="{FF2B5EF4-FFF2-40B4-BE49-F238E27FC236}">
                <a16:creationId xmlns:a16="http://schemas.microsoft.com/office/drawing/2014/main" id="{81B01481-9390-14F9-F698-6F6C2689D2B9}"/>
              </a:ext>
            </a:extLst>
          </p:cNvPr>
          <p:cNvSpPr txBox="1"/>
          <p:nvPr/>
        </p:nvSpPr>
        <p:spPr>
          <a:xfrm>
            <a:off x="3018055" y="170490"/>
            <a:ext cx="57297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objectives (aims)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153" name="صورة 152" descr="صورة تحتوي على دائرة, سلاح, سهم&#10;&#10;تم إنشاء الوصف تلقائياً">
            <a:extLst>
              <a:ext uri="{FF2B5EF4-FFF2-40B4-BE49-F238E27FC236}">
                <a16:creationId xmlns:a16="http://schemas.microsoft.com/office/drawing/2014/main" id="{D69BE58A-5E20-8717-EB4B-7EDB527C9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747" y="113389"/>
            <a:ext cx="1427511" cy="112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7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7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7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/>
      <p:bldP spid="59" grpId="0" animBg="1"/>
      <p:bldP spid="61" grpId="0"/>
      <p:bldP spid="67" grpId="0" animBg="1"/>
      <p:bldP spid="70" grpId="0"/>
      <p:bldP spid="116" grpId="0" animBg="1"/>
      <p:bldP spid="118" grpId="0"/>
      <p:bldP spid="146" grpId="0"/>
      <p:bldP spid="147" grpId="0"/>
      <p:bldP spid="148" grpId="0"/>
      <p:bldP spid="149" grpId="0"/>
      <p:bldP spid="150" grpId="0" animBg="1"/>
      <p:bldP spid="1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21014" y="1293912"/>
            <a:ext cx="11390262" cy="5378172"/>
            <a:chOff x="0" y="0"/>
            <a:chExt cx="5779503" cy="307095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779503" cy="3070959"/>
            </a:xfrm>
            <a:custGeom>
              <a:avLst/>
              <a:gdLst/>
              <a:ahLst/>
              <a:cxnLst/>
              <a:rect l="l" t="t" r="r" b="b"/>
              <a:pathLst>
                <a:path w="5779503" h="3070959">
                  <a:moveTo>
                    <a:pt x="5655043" y="3070959"/>
                  </a:moveTo>
                  <a:lnTo>
                    <a:pt x="124460" y="3070959"/>
                  </a:lnTo>
                  <a:cubicBezTo>
                    <a:pt x="55880" y="3070959"/>
                    <a:pt x="0" y="3015079"/>
                    <a:pt x="0" y="294649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5655044" y="0"/>
                  </a:lnTo>
                  <a:cubicBezTo>
                    <a:pt x="5723624" y="0"/>
                    <a:pt x="5779503" y="55880"/>
                    <a:pt x="5779503" y="124460"/>
                  </a:cubicBezTo>
                  <a:lnTo>
                    <a:pt x="5779503" y="2946499"/>
                  </a:lnTo>
                  <a:cubicBezTo>
                    <a:pt x="5779503" y="3015079"/>
                    <a:pt x="5723624" y="3070959"/>
                    <a:pt x="5655044" y="3070959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200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685800" y="1405877"/>
            <a:ext cx="3484012" cy="2556919"/>
            <a:chOff x="0" y="0"/>
            <a:chExt cx="1767814" cy="242230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0664" y="1398318"/>
            <a:ext cx="3484012" cy="2556918"/>
            <a:chOff x="0" y="0"/>
            <a:chExt cx="1767814" cy="2422304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22188" y="1405877"/>
            <a:ext cx="3484012" cy="2556919"/>
            <a:chOff x="0" y="0"/>
            <a:chExt cx="1767814" cy="2422304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3162619" y="177872"/>
            <a:ext cx="5247584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tools and languages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14" name="TextBox 14"/>
          <p:cNvSpPr txBox="1"/>
          <p:nvPr/>
        </p:nvSpPr>
        <p:spPr>
          <a:xfrm>
            <a:off x="766364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8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rontend</a:t>
            </a:r>
            <a:endParaRPr lang="en-US" sz="2133" u="sng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5"/>
          <p:cNvSpPr txBox="1"/>
          <p:nvPr/>
        </p:nvSpPr>
        <p:spPr>
          <a:xfrm>
            <a:off x="1082502" y="1920465"/>
            <a:ext cx="2690608" cy="25458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TML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S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S</a:t>
            </a:r>
          </a:p>
          <a:p>
            <a:pPr defTabSz="812821">
              <a:lnSpc>
                <a:spcPct val="150000"/>
              </a:lnSpc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React framework </a:t>
            </a:r>
          </a:p>
          <a:p>
            <a:pPr defTabSz="812821"/>
            <a:endParaRPr lang="ar-EG" sz="2133" dirty="0">
              <a:solidFill>
                <a:prstClr val="black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1922"/>
              </a:lnSpc>
            </a:pPr>
            <a:endParaRPr lang="en-US" sz="213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4431228" y="1502684"/>
            <a:ext cx="3322886" cy="369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812821"/>
            <a:r>
              <a:rPr lang="en-US" sz="2400" u="sng" dirty="0" err="1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ackEnd</a:t>
            </a:r>
            <a:r>
              <a:rPr lang="en-US" sz="24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4815046" y="2030271"/>
            <a:ext cx="2690608" cy="14194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ode.j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ySQL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pm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8102751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4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chine Learning</a:t>
            </a: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3F87C9-E368-18C1-B46F-0C919F83059C}"/>
              </a:ext>
            </a:extLst>
          </p:cNvPr>
          <p:cNvSpPr txBox="1"/>
          <p:nvPr/>
        </p:nvSpPr>
        <p:spPr>
          <a:xfrm>
            <a:off x="8390341" y="1979663"/>
            <a:ext cx="2731861" cy="2061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ython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ltk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lask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eural Networks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andom Forest</a:t>
            </a:r>
          </a:p>
          <a:p>
            <a:pPr defTabSz="812821"/>
            <a:endParaRPr lang="ar-EG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مخطط انسيابي: بيانات مخزّنة 3">
            <a:extLst>
              <a:ext uri="{FF2B5EF4-FFF2-40B4-BE49-F238E27FC236}">
                <a16:creationId xmlns:a16="http://schemas.microsoft.com/office/drawing/2014/main" id="{7C9235B0-9BE6-8ECC-2346-7DA32EBAF19A}"/>
              </a:ext>
            </a:extLst>
          </p:cNvPr>
          <p:cNvSpPr/>
          <p:nvPr/>
        </p:nvSpPr>
        <p:spPr>
          <a:xfrm>
            <a:off x="115448" y="557399"/>
            <a:ext cx="1841517" cy="662538"/>
          </a:xfrm>
          <a:prstGeom prst="flowChartOnlineStorag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sz="1200" dirty="0"/>
          </a:p>
        </p:txBody>
      </p:sp>
      <p:pic>
        <p:nvPicPr>
          <p:cNvPr id="19" name="Picture 13">
            <a:extLst>
              <a:ext uri="{FF2B5EF4-FFF2-40B4-BE49-F238E27FC236}">
                <a16:creationId xmlns:a16="http://schemas.microsoft.com/office/drawing/2014/main" id="{D68C8B3B-F7AD-A856-05A2-6F674D28EB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04" y="3977651"/>
            <a:ext cx="1974215" cy="14959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2">
            <a:extLst>
              <a:ext uri="{FF2B5EF4-FFF2-40B4-BE49-F238E27FC236}">
                <a16:creationId xmlns:a16="http://schemas.microsoft.com/office/drawing/2014/main" id="{C178A920-8587-F1A4-1BF0-CD9753821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242" y="5188459"/>
            <a:ext cx="1771501" cy="14158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Content Placeholder 56">
            <a:extLst>
              <a:ext uri="{FF2B5EF4-FFF2-40B4-BE49-F238E27FC236}">
                <a16:creationId xmlns:a16="http://schemas.microsoft.com/office/drawing/2014/main" id="{FB93B567-3976-2B1C-B130-0360E22DF0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841" y="4026368"/>
            <a:ext cx="1972887" cy="15129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15">
            <a:extLst>
              <a:ext uri="{FF2B5EF4-FFF2-40B4-BE49-F238E27FC236}">
                <a16:creationId xmlns:a16="http://schemas.microsoft.com/office/drawing/2014/main" id="{E3985EEB-588F-E3F2-4BBC-9A2EA08049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28" y="5138614"/>
            <a:ext cx="1396424" cy="151479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39" descr="A cartoon character with a black background">
            <a:extLst>
              <a:ext uri="{FF2B5EF4-FFF2-40B4-BE49-F238E27FC236}">
                <a16:creationId xmlns:a16="http://schemas.microsoft.com/office/drawing/2014/main" id="{6EA66B67-61B6-BD42-D652-0DD34B3145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93" y="-370407"/>
            <a:ext cx="2517829" cy="2566672"/>
          </a:xfrm>
          <a:prstGeom prst="rect">
            <a:avLst/>
          </a:prstGeom>
        </p:spPr>
      </p:pic>
      <p:pic>
        <p:nvPicPr>
          <p:cNvPr id="11" name="صورة 10" descr="صورة تحتوي على الخط, الرسومات, شعار, رمز&#10;&#10;تم إنشاء الوصف تلقائياً">
            <a:extLst>
              <a:ext uri="{FF2B5EF4-FFF2-40B4-BE49-F238E27FC236}">
                <a16:creationId xmlns:a16="http://schemas.microsoft.com/office/drawing/2014/main" id="{540DD425-7D9C-1AC4-12D8-215DC439F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0291">
            <a:off x="3407487" y="4507921"/>
            <a:ext cx="2633207" cy="870984"/>
          </a:xfrm>
          <a:prstGeom prst="rect">
            <a:avLst/>
          </a:prstGeom>
          <a:scene3d>
            <a:camera prst="perspectiveRight"/>
            <a:lightRig rig="threePt" dir="t"/>
          </a:scene3d>
          <a:sp3d>
            <a:bevelT prst="relaxedInset"/>
          </a:sp3d>
        </p:spPr>
      </p:pic>
      <p:pic>
        <p:nvPicPr>
          <p:cNvPr id="23" name="صورة 22" descr="صورة تحتوي على رسم بياني, بكسل, فن&#10;&#10;تم إنشاء الوصف تلقائياً">
            <a:extLst>
              <a:ext uri="{FF2B5EF4-FFF2-40B4-BE49-F238E27FC236}">
                <a16:creationId xmlns:a16="http://schemas.microsoft.com/office/drawing/2014/main" id="{E868AD49-8C07-62DA-11FF-CDA66955823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3" t="14584" r="9303" b="15676"/>
          <a:stretch/>
        </p:blipFill>
        <p:spPr>
          <a:xfrm>
            <a:off x="2611351" y="5393988"/>
            <a:ext cx="1303770" cy="1130286"/>
          </a:xfrm>
          <a:prstGeom prst="rect">
            <a:avLst/>
          </a:prstGeom>
          <a:scene3d>
            <a:camera prst="perspectiveBelow"/>
            <a:lightRig rig="threePt" dir="t"/>
          </a:scene3d>
          <a:sp3d>
            <a:bevelT w="152400" h="50800" prst="softRound"/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1" grpId="0"/>
      <p:bldP spid="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925145"/>
            <a:ext cx="8288594" cy="594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36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Analysis and design</a:t>
            </a:r>
            <a:endParaRPr lang="en-US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037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Freeform: Shape 189">
            <a:extLst>
              <a:ext uri="{FF2B5EF4-FFF2-40B4-BE49-F238E27FC236}">
                <a16:creationId xmlns:a16="http://schemas.microsoft.com/office/drawing/2014/main" id="{97FBD663-5C0B-F00F-4289-05559B122BD2}"/>
              </a:ext>
            </a:extLst>
          </p:cNvPr>
          <p:cNvSpPr/>
          <p:nvPr/>
        </p:nvSpPr>
        <p:spPr>
          <a:xfrm rot="1800000" flipV="1">
            <a:off x="5281638" y="3381177"/>
            <a:ext cx="1521636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7B9F43B9-05C9-DC4E-2218-B710612BE340}"/>
              </a:ext>
            </a:extLst>
          </p:cNvPr>
          <p:cNvSpPr/>
          <p:nvPr/>
        </p:nvSpPr>
        <p:spPr>
          <a:xfrm rot="1800000" flipV="1">
            <a:off x="5075078" y="3212833"/>
            <a:ext cx="1934755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03C46E88-21B4-141E-EBC6-CE11C2DB520A}"/>
              </a:ext>
            </a:extLst>
          </p:cNvPr>
          <p:cNvSpPr txBox="1"/>
          <p:nvPr/>
        </p:nvSpPr>
        <p:spPr>
          <a:xfrm>
            <a:off x="5434434" y="3749428"/>
            <a:ext cx="12050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Function Requiremen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9DF65E-46C5-DE39-068C-78098102CC15}"/>
              </a:ext>
            </a:extLst>
          </p:cNvPr>
          <p:cNvGrpSpPr/>
          <p:nvPr/>
        </p:nvGrpSpPr>
        <p:grpSpPr>
          <a:xfrm>
            <a:off x="6141156" y="1649172"/>
            <a:ext cx="5828826" cy="4688973"/>
            <a:chOff x="6141156" y="1649172"/>
            <a:chExt cx="5828826" cy="4688973"/>
          </a:xfrm>
          <a:effectLst>
            <a:glow rad="228600">
              <a:schemeClr val="accent2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AF3E4F30-5460-BB3B-B6D5-19C88AA66690}"/>
                </a:ext>
              </a:extLst>
            </p:cNvPr>
            <p:cNvGrpSpPr/>
            <p:nvPr/>
          </p:nvGrpSpPr>
          <p:grpSpPr>
            <a:xfrm rot="16200000">
              <a:off x="5438840" y="2356618"/>
              <a:ext cx="4683841" cy="3279209"/>
              <a:chOff x="1038533" y="1327955"/>
              <a:chExt cx="7743210" cy="5113918"/>
            </a:xfrm>
            <a:scene3d>
              <a:camera prst="perspectiveBelow"/>
              <a:lightRig rig="threePt" dir="t"/>
            </a:scene3d>
          </p:grpSpPr>
          <p:grpSp>
            <p:nvGrpSpPr>
              <p:cNvPr id="170" name="Group 24">
                <a:extLst>
                  <a:ext uri="{FF2B5EF4-FFF2-40B4-BE49-F238E27FC236}">
                    <a16:creationId xmlns:a16="http://schemas.microsoft.com/office/drawing/2014/main" id="{2090DC5F-789D-3838-8ADD-ACBCDE7DF65B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88" name="Freeform 25">
                  <a:extLst>
                    <a:ext uri="{FF2B5EF4-FFF2-40B4-BE49-F238E27FC236}">
                      <a16:creationId xmlns:a16="http://schemas.microsoft.com/office/drawing/2014/main" id="{FE9FD8E0-CA42-8108-1925-6666060461D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9" name="TextBox 26">
                  <a:extLst>
                    <a:ext uri="{FF2B5EF4-FFF2-40B4-BE49-F238E27FC236}">
                      <a16:creationId xmlns:a16="http://schemas.microsoft.com/office/drawing/2014/main" id="{96066DFF-9E7E-CD71-9FFE-B8C2D474717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1" name="Group 27">
                <a:extLst>
                  <a:ext uri="{FF2B5EF4-FFF2-40B4-BE49-F238E27FC236}">
                    <a16:creationId xmlns:a16="http://schemas.microsoft.com/office/drawing/2014/main" id="{A863BE25-B4AF-E942-0E9A-CEB3684EB6D4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86" name="Freeform 28">
                  <a:extLst>
                    <a:ext uri="{FF2B5EF4-FFF2-40B4-BE49-F238E27FC236}">
                      <a16:creationId xmlns:a16="http://schemas.microsoft.com/office/drawing/2014/main" id="{757B63E6-7520-6818-05A3-8BDF711BC3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7" name="TextBox 29">
                  <a:extLst>
                    <a:ext uri="{FF2B5EF4-FFF2-40B4-BE49-F238E27FC236}">
                      <a16:creationId xmlns:a16="http://schemas.microsoft.com/office/drawing/2014/main" id="{CF7E5158-241E-CCE7-2F66-AB75F77BCC96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2" name="Group 30">
                <a:extLst>
                  <a:ext uri="{FF2B5EF4-FFF2-40B4-BE49-F238E27FC236}">
                    <a16:creationId xmlns:a16="http://schemas.microsoft.com/office/drawing/2014/main" id="{5B608EF6-CA59-CC93-BE9D-1D41129B09C4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84" name="Freeform 31">
                  <a:extLst>
                    <a:ext uri="{FF2B5EF4-FFF2-40B4-BE49-F238E27FC236}">
                      <a16:creationId xmlns:a16="http://schemas.microsoft.com/office/drawing/2014/main" id="{9D856EDD-24B8-26ED-5BC3-A365E8B893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5" name="TextBox 32">
                  <a:extLst>
                    <a:ext uri="{FF2B5EF4-FFF2-40B4-BE49-F238E27FC236}">
                      <a16:creationId xmlns:a16="http://schemas.microsoft.com/office/drawing/2014/main" id="{DC7A5493-A586-DB14-4ADC-E2B3E0C1E6DC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3" name="Group 33">
                <a:extLst>
                  <a:ext uri="{FF2B5EF4-FFF2-40B4-BE49-F238E27FC236}">
                    <a16:creationId xmlns:a16="http://schemas.microsoft.com/office/drawing/2014/main" id="{8539DBB5-E245-D2D1-897D-0FA2A4F57812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82" name="Freeform 34">
                  <a:extLst>
                    <a:ext uri="{FF2B5EF4-FFF2-40B4-BE49-F238E27FC236}">
                      <a16:creationId xmlns:a16="http://schemas.microsoft.com/office/drawing/2014/main" id="{86AA4A35-A898-36F8-E78C-7427D10794A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3" name="TextBox 35">
                  <a:extLst>
                    <a:ext uri="{FF2B5EF4-FFF2-40B4-BE49-F238E27FC236}">
                      <a16:creationId xmlns:a16="http://schemas.microsoft.com/office/drawing/2014/main" id="{096F294C-17C0-7219-CF99-5E3BD409131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4" name="Group 36">
                <a:extLst>
                  <a:ext uri="{FF2B5EF4-FFF2-40B4-BE49-F238E27FC236}">
                    <a16:creationId xmlns:a16="http://schemas.microsoft.com/office/drawing/2014/main" id="{1A0134B0-78AC-8CEA-0496-D71E38497DA9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80" name="Freeform 37">
                  <a:extLst>
                    <a:ext uri="{FF2B5EF4-FFF2-40B4-BE49-F238E27FC236}">
                      <a16:creationId xmlns:a16="http://schemas.microsoft.com/office/drawing/2014/main" id="{A9E4D178-9DD6-49AF-1ED6-29080586BD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1" name="TextBox 38">
                  <a:extLst>
                    <a:ext uri="{FF2B5EF4-FFF2-40B4-BE49-F238E27FC236}">
                      <a16:creationId xmlns:a16="http://schemas.microsoft.com/office/drawing/2014/main" id="{57231948-A456-8889-7728-333CBE44887E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75" name="TextBox 41">
                <a:extLst>
                  <a:ext uri="{FF2B5EF4-FFF2-40B4-BE49-F238E27FC236}">
                    <a16:creationId xmlns:a16="http://schemas.microsoft.com/office/drawing/2014/main" id="{7B2B45DA-D25F-0D22-3EC8-29902B2D1DC9}"/>
                  </a:ext>
                </a:extLst>
              </p:cNvPr>
              <p:cNvSpPr txBox="1"/>
              <p:nvPr/>
            </p:nvSpPr>
            <p:spPr>
              <a:xfrm rot="5400000">
                <a:off x="1372523" y="2220478"/>
                <a:ext cx="2244852" cy="6360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General Requirements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6" name="TextBox 42">
                <a:extLst>
                  <a:ext uri="{FF2B5EF4-FFF2-40B4-BE49-F238E27FC236}">
                    <a16:creationId xmlns:a16="http://schemas.microsoft.com/office/drawing/2014/main" id="{2E1C4A34-406C-3DF7-9E1D-9E794579FE0F}"/>
                  </a:ext>
                </a:extLst>
              </p:cNvPr>
              <p:cNvSpPr txBox="1"/>
              <p:nvPr/>
            </p:nvSpPr>
            <p:spPr>
              <a:xfrm rot="5400000">
                <a:off x="3777767" y="3417982"/>
                <a:ext cx="1956383" cy="95550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dd jobs by businessman</a:t>
                </a:r>
              </a:p>
            </p:txBody>
          </p:sp>
          <p:sp>
            <p:nvSpPr>
              <p:cNvPr id="177" name="TextBox 43">
                <a:extLst>
                  <a:ext uri="{FF2B5EF4-FFF2-40B4-BE49-F238E27FC236}">
                    <a16:creationId xmlns:a16="http://schemas.microsoft.com/office/drawing/2014/main" id="{C703D17F-DB08-A08E-48F8-937FB9635489}"/>
                  </a:ext>
                </a:extLst>
              </p:cNvPr>
              <p:cNvSpPr txBox="1"/>
              <p:nvPr/>
            </p:nvSpPr>
            <p:spPr>
              <a:xfrm rot="5400000">
                <a:off x="6517226" y="2369739"/>
                <a:ext cx="1903881" cy="32913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ind Job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8" name="TextBox 44">
                <a:extLst>
                  <a:ext uri="{FF2B5EF4-FFF2-40B4-BE49-F238E27FC236}">
                    <a16:creationId xmlns:a16="http://schemas.microsoft.com/office/drawing/2014/main" id="{27EED679-7D06-5888-BEF3-285117B7B856}"/>
                  </a:ext>
                </a:extLst>
              </p:cNvPr>
              <p:cNvSpPr txBox="1"/>
              <p:nvPr/>
            </p:nvSpPr>
            <p:spPr>
              <a:xfrm rot="5400000">
                <a:off x="6470329" y="5036151"/>
                <a:ext cx="2128791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matching</a:t>
                </a:r>
              </a:p>
            </p:txBody>
          </p:sp>
          <p:sp>
            <p:nvSpPr>
              <p:cNvPr id="179" name="TextBox 45">
                <a:extLst>
                  <a:ext uri="{FF2B5EF4-FFF2-40B4-BE49-F238E27FC236}">
                    <a16:creationId xmlns:a16="http://schemas.microsoft.com/office/drawing/2014/main" id="{F930DB7A-A2A8-0D89-B67E-7F9E904860BC}"/>
                  </a:ext>
                </a:extLst>
              </p:cNvPr>
              <p:cNvSpPr txBox="1"/>
              <p:nvPr/>
            </p:nvSpPr>
            <p:spPr>
              <a:xfrm rot="5400000">
                <a:off x="1535498" y="4997560"/>
                <a:ext cx="2128791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alendar </a:t>
                </a: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727A803-7F95-3417-FA64-DFCEE9397273}"/>
                </a:ext>
              </a:extLst>
            </p:cNvPr>
            <p:cNvGrpSpPr/>
            <p:nvPr/>
          </p:nvGrpSpPr>
          <p:grpSpPr>
            <a:xfrm rot="16200000">
              <a:off x="9444650" y="1671933"/>
              <a:ext cx="1700237" cy="1654716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66" name="Group 30">
                <a:extLst>
                  <a:ext uri="{FF2B5EF4-FFF2-40B4-BE49-F238E27FC236}">
                    <a16:creationId xmlns:a16="http://schemas.microsoft.com/office/drawing/2014/main" id="{A3833FDB-C4A7-80E4-F197-4DCC6B027E95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8" name="Freeform 31">
                  <a:extLst>
                    <a:ext uri="{FF2B5EF4-FFF2-40B4-BE49-F238E27FC236}">
                      <a16:creationId xmlns:a16="http://schemas.microsoft.com/office/drawing/2014/main" id="{748F3A10-E477-511D-C8F9-53BF56ACD400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9" name="TextBox 32">
                  <a:extLst>
                    <a:ext uri="{FF2B5EF4-FFF2-40B4-BE49-F238E27FC236}">
                      <a16:creationId xmlns:a16="http://schemas.microsoft.com/office/drawing/2014/main" id="{BBF04827-6E29-E9DE-8EBC-9A641DC70248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67" name="TextBox 43">
                <a:extLst>
                  <a:ext uri="{FF2B5EF4-FFF2-40B4-BE49-F238E27FC236}">
                    <a16:creationId xmlns:a16="http://schemas.microsoft.com/office/drawing/2014/main" id="{D88BA851-9785-0171-8FA8-AAEBDE7854C5}"/>
                  </a:ext>
                </a:extLst>
              </p:cNvPr>
              <p:cNvSpPr txBox="1"/>
              <p:nvPr/>
            </p:nvSpPr>
            <p:spPr>
              <a:xfrm rot="5400000">
                <a:off x="6401158" y="4671728"/>
                <a:ext cx="2010876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Topic Chatbot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95C43E7A-094F-ECC7-3210-9F6205E43768}"/>
                </a:ext>
              </a:extLst>
            </p:cNvPr>
            <p:cNvSpPr/>
            <p:nvPr/>
          </p:nvSpPr>
          <p:spPr>
            <a:xfrm rot="16200000">
              <a:off x="9486187" y="4723242"/>
              <a:ext cx="1700237" cy="1529569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mpd="thickThin">
              <a:solidFill>
                <a:schemeClr val="tx1"/>
              </a:solidFill>
            </a:ln>
            <a:scene3d>
              <a:camera prst="perspectiveBelow"/>
              <a:lightRig rig="threePt" dir="t"/>
            </a:scene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65" name="TextBox 32">
              <a:extLst>
                <a:ext uri="{FF2B5EF4-FFF2-40B4-BE49-F238E27FC236}">
                  <a16:creationId xmlns:a16="http://schemas.microsoft.com/office/drawing/2014/main" id="{E4282D82-3C47-1C45-2950-BA3C072CF3BF}"/>
                </a:ext>
              </a:extLst>
            </p:cNvPr>
            <p:cNvSpPr txBox="1"/>
            <p:nvPr/>
          </p:nvSpPr>
          <p:spPr>
            <a:xfrm rot="16200000">
              <a:off x="9662710" y="4660669"/>
              <a:ext cx="1222045" cy="1654716"/>
            </a:xfrm>
            <a:prstGeom prst="rect">
              <a:avLst/>
            </a:prstGeom>
            <a:scene3d>
              <a:camera prst="perspectiveBelow"/>
              <a:lightRig rig="threePt" dir="t"/>
            </a:scene3d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  <p:sp>
          <p:nvSpPr>
            <p:cNvPr id="163" name="TextBox 43">
              <a:extLst>
                <a:ext uri="{FF2B5EF4-FFF2-40B4-BE49-F238E27FC236}">
                  <a16:creationId xmlns:a16="http://schemas.microsoft.com/office/drawing/2014/main" id="{6175B456-7A19-EDE3-4479-92E1085BFB94}"/>
                </a:ext>
              </a:extLst>
            </p:cNvPr>
            <p:cNvSpPr txBox="1"/>
            <p:nvPr/>
          </p:nvSpPr>
          <p:spPr>
            <a:xfrm>
              <a:off x="9702588" y="5253688"/>
              <a:ext cx="1273337" cy="385618"/>
            </a:xfrm>
            <a:prstGeom prst="rect">
              <a:avLst/>
            </a:prstGeom>
            <a:scene3d>
              <a:camera prst="perspectiveBelow"/>
              <a:lightRig rig="threePt" dir="t"/>
            </a:scene3d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dirty="0"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arch for a job seeker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AAB58C15-2CBD-A835-8B5B-2BEF909A94D3}"/>
                </a:ext>
              </a:extLst>
            </p:cNvPr>
            <p:cNvGrpSpPr/>
            <p:nvPr/>
          </p:nvGrpSpPr>
          <p:grpSpPr>
            <a:xfrm rot="16200000">
              <a:off x="10292505" y="3173883"/>
              <a:ext cx="1700237" cy="1654716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58" name="Group 30">
                <a:extLst>
                  <a:ext uri="{FF2B5EF4-FFF2-40B4-BE49-F238E27FC236}">
                    <a16:creationId xmlns:a16="http://schemas.microsoft.com/office/drawing/2014/main" id="{3EFC8F58-7088-BE1A-F47B-99B4463A57D1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0" name="Freeform 31">
                  <a:extLst>
                    <a:ext uri="{FF2B5EF4-FFF2-40B4-BE49-F238E27FC236}">
                      <a16:creationId xmlns:a16="http://schemas.microsoft.com/office/drawing/2014/main" id="{2774A9A0-2D71-1641-BF25-A3F5113EA5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1" name="TextBox 32">
                  <a:extLst>
                    <a:ext uri="{FF2B5EF4-FFF2-40B4-BE49-F238E27FC236}">
                      <a16:creationId xmlns:a16="http://schemas.microsoft.com/office/drawing/2014/main" id="{E925F8F4-179D-C163-3C22-ADF47002BB9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59" name="TextBox 43">
                <a:extLst>
                  <a:ext uri="{FF2B5EF4-FFF2-40B4-BE49-F238E27FC236}">
                    <a16:creationId xmlns:a16="http://schemas.microsoft.com/office/drawing/2014/main" id="{6B8A6204-3E7B-4058-D971-C571DAD6AC23}"/>
                  </a:ext>
                </a:extLst>
              </p:cNvPr>
              <p:cNvSpPr txBox="1"/>
              <p:nvPr/>
            </p:nvSpPr>
            <p:spPr>
              <a:xfrm rot="5400000">
                <a:off x="6278983" y="4649586"/>
                <a:ext cx="2010876" cy="95550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recommendation 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DE18018F-B863-8CC8-3D09-FAF3B8CD8BED}"/>
                </a:ext>
              </a:extLst>
            </p:cNvPr>
            <p:cNvGrpSpPr/>
            <p:nvPr/>
          </p:nvGrpSpPr>
          <p:grpSpPr>
            <a:xfrm>
              <a:off x="8593805" y="3208645"/>
              <a:ext cx="1762696" cy="1576809"/>
              <a:chOff x="2034898" y="3168339"/>
              <a:chExt cx="1829098" cy="1576809"/>
            </a:xfrm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  <a:scene3d>
              <a:camera prst="perspectiveBelow"/>
              <a:lightRig rig="threePt" dir="t"/>
            </a:scene3d>
          </p:grpSpPr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79DD08D2-BE79-F452-03AC-BA3BBFFB9D4E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EE1B80DB-E97D-4B40-8422-06B5846A72B4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C3E3816B-BF32-07C3-BE08-F8895B647406}"/>
                  </a:ext>
                </a:extLst>
              </p:cNvPr>
              <p:cNvSpPr txBox="1"/>
              <p:nvPr/>
            </p:nvSpPr>
            <p:spPr>
              <a:xfrm>
                <a:off x="2356482" y="3716562"/>
                <a:ext cx="1247176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Function Requirements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9E5EA15-667F-61B8-8F32-D811C0E8845E}"/>
              </a:ext>
            </a:extLst>
          </p:cNvPr>
          <p:cNvGrpSpPr/>
          <p:nvPr/>
        </p:nvGrpSpPr>
        <p:grpSpPr>
          <a:xfrm>
            <a:off x="333157" y="1649177"/>
            <a:ext cx="5615586" cy="4688975"/>
            <a:chOff x="333157" y="1649177"/>
            <a:chExt cx="5615586" cy="4688975"/>
          </a:xfrm>
          <a:effectLst>
            <a:glow rad="228600">
              <a:schemeClr val="accent1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4D2B827-1C68-9B13-3945-40B6120D4BB8}"/>
                </a:ext>
              </a:extLst>
            </p:cNvPr>
            <p:cNvGrpSpPr/>
            <p:nvPr/>
          </p:nvGrpSpPr>
          <p:grpSpPr>
            <a:xfrm rot="5400000">
              <a:off x="1999195" y="2383470"/>
              <a:ext cx="4683841" cy="3215255"/>
              <a:chOff x="1038533" y="1327955"/>
              <a:chExt cx="7743210" cy="5113918"/>
            </a:xfrm>
            <a:scene3d>
              <a:camera prst="perspectiveBelow"/>
              <a:lightRig rig="threePt" dir="t"/>
            </a:scene3d>
          </p:grpSpPr>
          <p:grpSp>
            <p:nvGrpSpPr>
              <p:cNvPr id="133" name="Group 24">
                <a:extLst>
                  <a:ext uri="{FF2B5EF4-FFF2-40B4-BE49-F238E27FC236}">
                    <a16:creationId xmlns:a16="http://schemas.microsoft.com/office/drawing/2014/main" id="{99085DC1-62E7-44D3-D4BA-51B561D24792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51" name="Freeform 25">
                  <a:extLst>
                    <a:ext uri="{FF2B5EF4-FFF2-40B4-BE49-F238E27FC236}">
                      <a16:creationId xmlns:a16="http://schemas.microsoft.com/office/drawing/2014/main" id="{E7AD9380-0073-4D9C-33A6-8E5BE833D12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2" name="TextBox 26">
                  <a:extLst>
                    <a:ext uri="{FF2B5EF4-FFF2-40B4-BE49-F238E27FC236}">
                      <a16:creationId xmlns:a16="http://schemas.microsoft.com/office/drawing/2014/main" id="{CAC58BDB-2347-7D0B-D612-098A34C45FAB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4" name="Group 27">
                <a:extLst>
                  <a:ext uri="{FF2B5EF4-FFF2-40B4-BE49-F238E27FC236}">
                    <a16:creationId xmlns:a16="http://schemas.microsoft.com/office/drawing/2014/main" id="{A7B76DD3-23F6-D6B1-AF26-19B3DDCBFD7D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49" name="Freeform 28">
                  <a:extLst>
                    <a:ext uri="{FF2B5EF4-FFF2-40B4-BE49-F238E27FC236}">
                      <a16:creationId xmlns:a16="http://schemas.microsoft.com/office/drawing/2014/main" id="{1AC2819A-B9B4-3463-FA4F-046C0E6CFEF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0" name="TextBox 29">
                  <a:extLst>
                    <a:ext uri="{FF2B5EF4-FFF2-40B4-BE49-F238E27FC236}">
                      <a16:creationId xmlns:a16="http://schemas.microsoft.com/office/drawing/2014/main" id="{51BC75A9-EF66-D7B4-83E4-F2D25292752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5" name="Group 30">
                <a:extLst>
                  <a:ext uri="{FF2B5EF4-FFF2-40B4-BE49-F238E27FC236}">
                    <a16:creationId xmlns:a16="http://schemas.microsoft.com/office/drawing/2014/main" id="{543915F6-A841-65EE-B622-C2DF7AD3254D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47" name="Freeform 31">
                  <a:extLst>
                    <a:ext uri="{FF2B5EF4-FFF2-40B4-BE49-F238E27FC236}">
                      <a16:creationId xmlns:a16="http://schemas.microsoft.com/office/drawing/2014/main" id="{2A37920E-86BF-D1CC-15B5-5B9B767BCCC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8" name="TextBox 32">
                  <a:extLst>
                    <a:ext uri="{FF2B5EF4-FFF2-40B4-BE49-F238E27FC236}">
                      <a16:creationId xmlns:a16="http://schemas.microsoft.com/office/drawing/2014/main" id="{F9B0E572-E44F-7DC3-3D1F-9F8F009C25C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6" name="Group 33">
                <a:extLst>
                  <a:ext uri="{FF2B5EF4-FFF2-40B4-BE49-F238E27FC236}">
                    <a16:creationId xmlns:a16="http://schemas.microsoft.com/office/drawing/2014/main" id="{2CF02895-3BC0-0CD1-B4A4-B7E88368DD41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45" name="Freeform 34">
                  <a:extLst>
                    <a:ext uri="{FF2B5EF4-FFF2-40B4-BE49-F238E27FC236}">
                      <a16:creationId xmlns:a16="http://schemas.microsoft.com/office/drawing/2014/main" id="{EC1E7D1D-B6E8-8D18-F290-0CE7B8FE875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46" name="TextBox 35">
                  <a:extLst>
                    <a:ext uri="{FF2B5EF4-FFF2-40B4-BE49-F238E27FC236}">
                      <a16:creationId xmlns:a16="http://schemas.microsoft.com/office/drawing/2014/main" id="{D22E1484-82F8-7B5C-A76B-BE7F5143F7A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7" name="Group 36">
                <a:extLst>
                  <a:ext uri="{FF2B5EF4-FFF2-40B4-BE49-F238E27FC236}">
                    <a16:creationId xmlns:a16="http://schemas.microsoft.com/office/drawing/2014/main" id="{8C65B1BC-44DF-F933-CF14-439702EF884A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43" name="Freeform 37">
                  <a:extLst>
                    <a:ext uri="{FF2B5EF4-FFF2-40B4-BE49-F238E27FC236}">
                      <a16:creationId xmlns:a16="http://schemas.microsoft.com/office/drawing/2014/main" id="{A02FC061-A5F3-4888-F16F-CAD8ED0BF97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4" name="TextBox 38">
                  <a:extLst>
                    <a:ext uri="{FF2B5EF4-FFF2-40B4-BE49-F238E27FC236}">
                      <a16:creationId xmlns:a16="http://schemas.microsoft.com/office/drawing/2014/main" id="{CA36A67A-D529-C3E5-1613-74A5D19DA21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8" name="TextBox 41">
                <a:extLst>
                  <a:ext uri="{FF2B5EF4-FFF2-40B4-BE49-F238E27FC236}">
                    <a16:creationId xmlns:a16="http://schemas.microsoft.com/office/drawing/2014/main" id="{D3B4CB62-31FF-29EF-5390-B0848EBDAB2E}"/>
                  </a:ext>
                </a:extLst>
              </p:cNvPr>
              <p:cNvSpPr txBox="1"/>
              <p:nvPr/>
            </p:nvSpPr>
            <p:spPr>
              <a:xfrm rot="16200000">
                <a:off x="1229330" y="2343712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39" name="TextBox 42">
                <a:extLst>
                  <a:ext uri="{FF2B5EF4-FFF2-40B4-BE49-F238E27FC236}">
                    <a16:creationId xmlns:a16="http://schemas.microsoft.com/office/drawing/2014/main" id="{CF083810-D787-A7A6-15C2-BB43CFBE1849}"/>
                  </a:ext>
                </a:extLst>
              </p:cNvPr>
              <p:cNvSpPr txBox="1"/>
              <p:nvPr/>
            </p:nvSpPr>
            <p:spPr>
              <a:xfrm rot="16200000">
                <a:off x="3930997" y="3606844"/>
                <a:ext cx="2039712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seeke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0" name="TextBox 43">
                <a:extLst>
                  <a:ext uri="{FF2B5EF4-FFF2-40B4-BE49-F238E27FC236}">
                    <a16:creationId xmlns:a16="http://schemas.microsoft.com/office/drawing/2014/main" id="{E301972B-BCD6-E73F-4A0B-B0668944342E}"/>
                  </a:ext>
                </a:extLst>
              </p:cNvPr>
              <p:cNvSpPr txBox="1"/>
              <p:nvPr/>
            </p:nvSpPr>
            <p:spPr>
              <a:xfrm rot="16200000">
                <a:off x="6335910" y="2249288"/>
                <a:ext cx="1984974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Businessman sign up</a:t>
                </a:r>
              </a:p>
            </p:txBody>
          </p:sp>
          <p:sp>
            <p:nvSpPr>
              <p:cNvPr id="141" name="TextBox 44">
                <a:extLst>
                  <a:ext uri="{FF2B5EF4-FFF2-40B4-BE49-F238E27FC236}">
                    <a16:creationId xmlns:a16="http://schemas.microsoft.com/office/drawing/2014/main" id="{6C8383FF-9870-BFBC-9C11-83BF95E470A4}"/>
                  </a:ext>
                </a:extLst>
              </p:cNvPr>
              <p:cNvSpPr txBox="1"/>
              <p:nvPr/>
            </p:nvSpPr>
            <p:spPr>
              <a:xfrm rot="16200000">
                <a:off x="6382821" y="4866658"/>
                <a:ext cx="2219463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Businessman login</a:t>
                </a:r>
              </a:p>
            </p:txBody>
          </p:sp>
          <p:sp>
            <p:nvSpPr>
              <p:cNvPr id="142" name="TextBox 45">
                <a:extLst>
                  <a:ext uri="{FF2B5EF4-FFF2-40B4-BE49-F238E27FC236}">
                    <a16:creationId xmlns:a16="http://schemas.microsoft.com/office/drawing/2014/main" id="{5C4EC52D-388A-0CF9-415B-DD025F35662D}"/>
                  </a:ext>
                </a:extLst>
              </p:cNvPr>
              <p:cNvSpPr txBox="1"/>
              <p:nvPr/>
            </p:nvSpPr>
            <p:spPr>
              <a:xfrm rot="16200000">
                <a:off x="1188960" y="5082511"/>
                <a:ext cx="2219464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20532229-3B50-FEB9-B9D4-FA25330F0703}"/>
                </a:ext>
              </a:extLst>
            </p:cNvPr>
            <p:cNvGrpSpPr/>
            <p:nvPr/>
          </p:nvGrpSpPr>
          <p:grpSpPr>
            <a:xfrm rot="5400000">
              <a:off x="1089813" y="4694476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9" name="Group 30">
                <a:extLst>
                  <a:ext uri="{FF2B5EF4-FFF2-40B4-BE49-F238E27FC236}">
                    <a16:creationId xmlns:a16="http://schemas.microsoft.com/office/drawing/2014/main" id="{62D8AA0E-FB10-0E0D-5C10-841F53DDCB7B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31" name="Freeform 31">
                  <a:extLst>
                    <a:ext uri="{FF2B5EF4-FFF2-40B4-BE49-F238E27FC236}">
                      <a16:creationId xmlns:a16="http://schemas.microsoft.com/office/drawing/2014/main" id="{7CD913BB-5971-F967-FE48-67042CCC9DC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32" name="TextBox 32">
                  <a:extLst>
                    <a:ext uri="{FF2B5EF4-FFF2-40B4-BE49-F238E27FC236}">
                      <a16:creationId xmlns:a16="http://schemas.microsoft.com/office/drawing/2014/main" id="{1B5CC18B-C793-2B27-5815-9C952D31EBB3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0" name="TextBox 43">
                <a:extLst>
                  <a:ext uri="{FF2B5EF4-FFF2-40B4-BE49-F238E27FC236}">
                    <a16:creationId xmlns:a16="http://schemas.microsoft.com/office/drawing/2014/main" id="{4F65D036-1EB2-3F15-86ED-7833ECACC437}"/>
                  </a:ext>
                </a:extLst>
              </p:cNvPr>
              <p:cNvSpPr txBox="1"/>
              <p:nvPr/>
            </p:nvSpPr>
            <p:spPr>
              <a:xfrm rot="16200000">
                <a:off x="6078168" y="5012330"/>
                <a:ext cx="2096527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CV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A3336B6B-5124-22DB-D78D-D1BD3AFA2734}"/>
                </a:ext>
              </a:extLst>
            </p:cNvPr>
            <p:cNvGrpSpPr/>
            <p:nvPr/>
          </p:nvGrpSpPr>
          <p:grpSpPr>
            <a:xfrm rot="5400000">
              <a:off x="1109990" y="1705740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5" name="Group 30">
                <a:extLst>
                  <a:ext uri="{FF2B5EF4-FFF2-40B4-BE49-F238E27FC236}">
                    <a16:creationId xmlns:a16="http://schemas.microsoft.com/office/drawing/2014/main" id="{66D45BC1-3F6D-7F16-4A61-4AF4B753F50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7" name="Freeform 31">
                  <a:extLst>
                    <a:ext uri="{FF2B5EF4-FFF2-40B4-BE49-F238E27FC236}">
                      <a16:creationId xmlns:a16="http://schemas.microsoft.com/office/drawing/2014/main" id="{C8D303E4-A407-209A-0AAE-2D882B30C46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8" name="TextBox 32">
                  <a:extLst>
                    <a:ext uri="{FF2B5EF4-FFF2-40B4-BE49-F238E27FC236}">
                      <a16:creationId xmlns:a16="http://schemas.microsoft.com/office/drawing/2014/main" id="{CB76B2FB-DDA8-97EA-00E8-B606F2C0730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6" name="TextBox 43">
                <a:extLst>
                  <a:ext uri="{FF2B5EF4-FFF2-40B4-BE49-F238E27FC236}">
                    <a16:creationId xmlns:a16="http://schemas.microsoft.com/office/drawing/2014/main" id="{E1723618-839D-3B96-3C5A-AE0DFC03E1AA}"/>
                  </a:ext>
                </a:extLst>
              </p:cNvPr>
              <p:cNvSpPr txBox="1"/>
              <p:nvPr/>
            </p:nvSpPr>
            <p:spPr>
              <a:xfrm rot="16200000">
                <a:off x="6409632" y="4851230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Job seeke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A37896-5F46-552E-CC4B-B2DA6DCFB468}"/>
                </a:ext>
              </a:extLst>
            </p:cNvPr>
            <p:cNvGrpSpPr/>
            <p:nvPr/>
          </p:nvGrpSpPr>
          <p:grpSpPr>
            <a:xfrm rot="5400000">
              <a:off x="276596" y="3192528"/>
              <a:ext cx="1700237" cy="1587115"/>
              <a:chOff x="5961120" y="3721943"/>
              <a:chExt cx="2810790" cy="2613157"/>
            </a:xfrm>
            <a:scene3d>
              <a:camera prst="perspectiveBelow"/>
              <a:lightRig rig="threePt" dir="t"/>
            </a:scene3d>
          </p:grpSpPr>
          <p:grpSp>
            <p:nvGrpSpPr>
              <p:cNvPr id="121" name="Group 30">
                <a:extLst>
                  <a:ext uri="{FF2B5EF4-FFF2-40B4-BE49-F238E27FC236}">
                    <a16:creationId xmlns:a16="http://schemas.microsoft.com/office/drawing/2014/main" id="{02A0D05E-31C2-AFE6-7B9E-0762AA6757E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3" name="Freeform 31">
                  <a:extLst>
                    <a:ext uri="{FF2B5EF4-FFF2-40B4-BE49-F238E27FC236}">
                      <a16:creationId xmlns:a16="http://schemas.microsoft.com/office/drawing/2014/main" id="{CEC6C5CF-7C0B-5E66-3430-008EEB6A9E4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4" name="TextBox 32">
                  <a:extLst>
                    <a:ext uri="{FF2B5EF4-FFF2-40B4-BE49-F238E27FC236}">
                      <a16:creationId xmlns:a16="http://schemas.microsoft.com/office/drawing/2014/main" id="{1577C26B-3719-D57C-95D8-C5595E8B16E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2" name="TextBox 43">
                <a:extLst>
                  <a:ext uri="{FF2B5EF4-FFF2-40B4-BE49-F238E27FC236}">
                    <a16:creationId xmlns:a16="http://schemas.microsoft.com/office/drawing/2014/main" id="{9663A886-1D4F-10F5-DFF3-E378E6EAB639}"/>
                  </a:ext>
                </a:extLst>
              </p:cNvPr>
              <p:cNvSpPr txBox="1"/>
              <p:nvPr/>
            </p:nvSpPr>
            <p:spPr>
              <a:xfrm rot="16200000">
                <a:off x="6207078" y="4770401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Online job search</a:t>
                </a:r>
              </a:p>
            </p:txBody>
          </p:sp>
        </p:grpSp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40437880-3976-F777-AA1E-0DA6BC447F17}"/>
                </a:ext>
              </a:extLst>
            </p:cNvPr>
            <p:cNvSpPr/>
            <p:nvPr/>
          </p:nvSpPr>
          <p:spPr>
            <a:xfrm rot="1800000" flipV="1">
              <a:off x="2048064" y="3381176"/>
              <a:ext cx="1315902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CD49A36-5B8B-4D18-1FD6-A4CF2B2F7C95}"/>
                </a:ext>
              </a:extLst>
            </p:cNvPr>
            <p:cNvSpPr/>
            <p:nvPr/>
          </p:nvSpPr>
          <p:spPr>
            <a:xfrm rot="1800000" flipV="1">
              <a:off x="1869432" y="3212832"/>
              <a:ext cx="1673165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03C1C2-6811-718B-2F20-C1C8B79B8753}"/>
                </a:ext>
              </a:extLst>
            </p:cNvPr>
            <p:cNvSpPr txBox="1"/>
            <p:nvPr/>
          </p:nvSpPr>
          <p:spPr>
            <a:xfrm>
              <a:off x="2101148" y="3761055"/>
              <a:ext cx="1203306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1" name="Group 30">
            <a:extLst>
              <a:ext uri="{FF2B5EF4-FFF2-40B4-BE49-F238E27FC236}">
                <a16:creationId xmlns:a16="http://schemas.microsoft.com/office/drawing/2014/main" id="{61FBCE9A-B77D-A4B2-1665-C438768451D9}"/>
              </a:ext>
            </a:extLst>
          </p:cNvPr>
          <p:cNvGrpSpPr/>
          <p:nvPr/>
        </p:nvGrpSpPr>
        <p:grpSpPr>
          <a:xfrm rot="5400000">
            <a:off x="340757" y="-102558"/>
            <a:ext cx="1700237" cy="2062426"/>
            <a:chOff x="-17532" y="-57150"/>
            <a:chExt cx="812800" cy="814102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AA097C08-B135-F8AA-75D9-E78ACB7A96CD}"/>
                </a:ext>
              </a:extLst>
            </p:cNvPr>
            <p:cNvSpPr/>
            <p:nvPr/>
          </p:nvSpPr>
          <p:spPr>
            <a:xfrm>
              <a:off x="-17532" y="58452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ap="flat" cmpd="thickThin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4" name="TextBox 32">
              <a:extLst>
                <a:ext uri="{FF2B5EF4-FFF2-40B4-BE49-F238E27FC236}">
                  <a16:creationId xmlns:a16="http://schemas.microsoft.com/office/drawing/2014/main" id="{F079A582-6536-ED38-C2A1-72F506DDFD9A}"/>
                </a:ext>
              </a:extLst>
            </p:cNvPr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pic>
        <p:nvPicPr>
          <p:cNvPr id="15" name="Picture 14" descr="A cartoon character with a black background">
            <a:extLst>
              <a:ext uri="{FF2B5EF4-FFF2-40B4-BE49-F238E27FC236}">
                <a16:creationId xmlns:a16="http://schemas.microsoft.com/office/drawing/2014/main" id="{E9F0DA64-6A61-2043-4AFD-C1D1A7C21F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" y="-154212"/>
            <a:ext cx="2418492" cy="246540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1DEEEB-1159-23ED-C42A-172E5492AFD0}"/>
              </a:ext>
            </a:extLst>
          </p:cNvPr>
          <p:cNvSpPr txBox="1"/>
          <p:nvPr/>
        </p:nvSpPr>
        <p:spPr>
          <a:xfrm>
            <a:off x="3491737" y="227409"/>
            <a:ext cx="482594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</a:t>
            </a:r>
          </a:p>
        </p:txBody>
      </p:sp>
    </p:spTree>
    <p:extLst>
      <p:ext uri="{BB962C8B-B14F-4D97-AF65-F5344CB8AC3E}">
        <p14:creationId xmlns:p14="http://schemas.microsoft.com/office/powerpoint/2010/main" val="46164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 animBg="1"/>
      <p:bldP spid="192" grpId="0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C7A8C3A5-9270-7681-914E-244ACF3A4EBF}"/>
              </a:ext>
            </a:extLst>
          </p:cNvPr>
          <p:cNvGrpSpPr/>
          <p:nvPr/>
        </p:nvGrpSpPr>
        <p:grpSpPr>
          <a:xfrm rot="20712246">
            <a:off x="2652164" y="3520445"/>
            <a:ext cx="1713521" cy="1576809"/>
            <a:chOff x="2034898" y="3168339"/>
            <a:chExt cx="1829098" cy="1576809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B642891-AE75-22E3-5607-E95590AAD909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B2AE2C9-B0FA-92E6-5377-BD41EE9D1CBF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EA900AA-2DAF-BF15-232D-534002C57F64}"/>
                </a:ext>
              </a:extLst>
            </p:cNvPr>
            <p:cNvSpPr txBox="1"/>
            <p:nvPr/>
          </p:nvSpPr>
          <p:spPr>
            <a:xfrm rot="352199">
              <a:off x="2334416" y="3716561"/>
              <a:ext cx="1269243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Non-Function Requirement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F1BAEC8-639C-26B7-DA5B-1D019ACC0678}"/>
              </a:ext>
            </a:extLst>
          </p:cNvPr>
          <p:cNvGrpSpPr/>
          <p:nvPr/>
        </p:nvGrpSpPr>
        <p:grpSpPr>
          <a:xfrm>
            <a:off x="5529645" y="910640"/>
            <a:ext cx="5370860" cy="5244893"/>
            <a:chOff x="5529645" y="910640"/>
            <a:chExt cx="5183118" cy="5244893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13DABAF-7686-C6FB-4528-62F9F1A88B40}"/>
                </a:ext>
              </a:extLst>
            </p:cNvPr>
            <p:cNvGrpSpPr/>
            <p:nvPr/>
          </p:nvGrpSpPr>
          <p:grpSpPr>
            <a:xfrm rot="20712246">
              <a:off x="7315903" y="2519075"/>
              <a:ext cx="1713521" cy="1576809"/>
              <a:chOff x="2034898" y="3168339"/>
              <a:chExt cx="1829098" cy="1576809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2876F86-10D4-7406-56BC-16721A7A1732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21B4A94-E5D3-C6DC-B843-C9EBA5B2AC40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BFEEC5-6A5D-C760-91CC-C2D302077771}"/>
                  </a:ext>
                </a:extLst>
              </p:cNvPr>
              <p:cNvSpPr txBox="1"/>
              <p:nvPr/>
            </p:nvSpPr>
            <p:spPr>
              <a:xfrm rot="1785281">
                <a:off x="2334416" y="3716561"/>
                <a:ext cx="12692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Non-Function Requirements</a:t>
                </a:r>
              </a:p>
            </p:txBody>
          </p:sp>
        </p:grpSp>
        <p:grpSp>
          <p:nvGrpSpPr>
            <p:cNvPr id="19" name="Group 24">
              <a:extLst>
                <a:ext uri="{FF2B5EF4-FFF2-40B4-BE49-F238E27FC236}">
                  <a16:creationId xmlns:a16="http://schemas.microsoft.com/office/drawing/2014/main" id="{D6117F97-5E83-E3DE-3728-2533C1045BFB}"/>
                </a:ext>
              </a:extLst>
            </p:cNvPr>
            <p:cNvGrpSpPr/>
            <p:nvPr/>
          </p:nvGrpSpPr>
          <p:grpSpPr>
            <a:xfrm rot="8159877">
              <a:off x="9012526" y="2255041"/>
              <a:ext cx="1700237" cy="1499204"/>
              <a:chOff x="0" y="-57150"/>
              <a:chExt cx="812800" cy="755650"/>
            </a:xfrm>
          </p:grpSpPr>
          <p:sp>
            <p:nvSpPr>
              <p:cNvPr id="37" name="Freeform 25">
                <a:extLst>
                  <a:ext uri="{FF2B5EF4-FFF2-40B4-BE49-F238E27FC236}">
                    <a16:creationId xmlns:a16="http://schemas.microsoft.com/office/drawing/2014/main" id="{0C3DF441-C2CD-222B-86E0-1E775A68533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8" name="TextBox 26">
                <a:extLst>
                  <a:ext uri="{FF2B5EF4-FFF2-40B4-BE49-F238E27FC236}">
                    <a16:creationId xmlns:a16="http://schemas.microsoft.com/office/drawing/2014/main" id="{EB3171DC-66C2-A0C9-3902-E29ECF4608F2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1" name="Group 30">
              <a:extLst>
                <a:ext uri="{FF2B5EF4-FFF2-40B4-BE49-F238E27FC236}">
                  <a16:creationId xmlns:a16="http://schemas.microsoft.com/office/drawing/2014/main" id="{355A1C28-7A8E-F379-A878-00DD8DA4DBE7}"/>
                </a:ext>
              </a:extLst>
            </p:cNvPr>
            <p:cNvGrpSpPr/>
            <p:nvPr/>
          </p:nvGrpSpPr>
          <p:grpSpPr>
            <a:xfrm rot="8159877">
              <a:off x="6874024" y="4229162"/>
              <a:ext cx="1700237" cy="1385819"/>
              <a:chOff x="0" y="0"/>
              <a:chExt cx="812800" cy="698500"/>
            </a:xfrm>
          </p:grpSpPr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24E33923-9E36-30DA-0DE5-EBE8169AB81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F9E4E908-AEB7-B927-0C89-10040BBD97B5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D859FC9D-BDA7-3D19-0918-8DF0A4C2729B}"/>
                </a:ext>
              </a:extLst>
            </p:cNvPr>
            <p:cNvGrpSpPr/>
            <p:nvPr/>
          </p:nvGrpSpPr>
          <p:grpSpPr>
            <a:xfrm rot="8159877">
              <a:off x="8411916" y="3786034"/>
              <a:ext cx="1700237" cy="1385819"/>
              <a:chOff x="0" y="0"/>
              <a:chExt cx="812800" cy="698500"/>
            </a:xfrm>
          </p:grpSpPr>
          <p:sp>
            <p:nvSpPr>
              <p:cNvPr id="31" name="Freeform 34">
                <a:extLst>
                  <a:ext uri="{FF2B5EF4-FFF2-40B4-BE49-F238E27FC236}">
                    <a16:creationId xmlns:a16="http://schemas.microsoft.com/office/drawing/2014/main" id="{D863ADFE-1985-511B-8E63-5D995AE6644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2" name="TextBox 35">
                <a:extLst>
                  <a:ext uri="{FF2B5EF4-FFF2-40B4-BE49-F238E27FC236}">
                    <a16:creationId xmlns:a16="http://schemas.microsoft.com/office/drawing/2014/main" id="{9077E09A-0D9F-5291-3E2A-FFBD04083229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4" name="TextBox 41">
              <a:extLst>
                <a:ext uri="{FF2B5EF4-FFF2-40B4-BE49-F238E27FC236}">
                  <a16:creationId xmlns:a16="http://schemas.microsoft.com/office/drawing/2014/main" id="{AF61289C-5AD5-1F3E-DB7A-EADEDA6C3041}"/>
                </a:ext>
              </a:extLst>
            </p:cNvPr>
            <p:cNvSpPr txBox="1"/>
            <p:nvPr/>
          </p:nvSpPr>
          <p:spPr>
            <a:xfrm rot="634826">
              <a:off x="9101087" y="2782232"/>
              <a:ext cx="1450992" cy="38561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Maintain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5" name="TextBox 42">
              <a:extLst>
                <a:ext uri="{FF2B5EF4-FFF2-40B4-BE49-F238E27FC236}">
                  <a16:creationId xmlns:a16="http://schemas.microsoft.com/office/drawing/2014/main" id="{DDC662B5-C8A5-F7AD-EE37-83D3D50DBA03}"/>
                </a:ext>
              </a:extLst>
            </p:cNvPr>
            <p:cNvSpPr txBox="1"/>
            <p:nvPr/>
          </p:nvSpPr>
          <p:spPr>
            <a:xfrm rot="730405">
              <a:off x="8649693" y="4413428"/>
              <a:ext cx="1170211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udit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6" name="TextBox 43">
              <a:extLst>
                <a:ext uri="{FF2B5EF4-FFF2-40B4-BE49-F238E27FC236}">
                  <a16:creationId xmlns:a16="http://schemas.microsoft.com/office/drawing/2014/main" id="{433BF523-4FE5-2C62-33A4-0CEB06652BC9}"/>
                </a:ext>
              </a:extLst>
            </p:cNvPr>
            <p:cNvSpPr txBox="1"/>
            <p:nvPr/>
          </p:nvSpPr>
          <p:spPr>
            <a:xfrm rot="487003">
              <a:off x="7020538" y="4819915"/>
              <a:ext cx="1450012" cy="1932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liance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23" name="Group 36">
              <a:extLst>
                <a:ext uri="{FF2B5EF4-FFF2-40B4-BE49-F238E27FC236}">
                  <a16:creationId xmlns:a16="http://schemas.microsoft.com/office/drawing/2014/main" id="{E5065ECD-74F3-9EC6-0949-D68BF2E6FEC1}"/>
                </a:ext>
              </a:extLst>
            </p:cNvPr>
            <p:cNvGrpSpPr/>
            <p:nvPr/>
          </p:nvGrpSpPr>
          <p:grpSpPr>
            <a:xfrm rot="4692662">
              <a:off x="5372436" y="4612505"/>
              <a:ext cx="1700237" cy="1385819"/>
              <a:chOff x="0" y="0"/>
              <a:chExt cx="812800" cy="698500"/>
            </a:xfrm>
          </p:grpSpPr>
          <p:sp>
            <p:nvSpPr>
              <p:cNvPr id="29" name="Freeform 37">
                <a:extLst>
                  <a:ext uri="{FF2B5EF4-FFF2-40B4-BE49-F238E27FC236}">
                    <a16:creationId xmlns:a16="http://schemas.microsoft.com/office/drawing/2014/main" id="{BBBE75D1-F6A9-7A1D-B686-E07008D22DA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0" name="TextBox 38">
                <a:extLst>
                  <a:ext uri="{FF2B5EF4-FFF2-40B4-BE49-F238E27FC236}">
                    <a16:creationId xmlns:a16="http://schemas.microsoft.com/office/drawing/2014/main" id="{55AF9FA3-8FBF-EE16-C659-5102D3B3CE7C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7" name="TextBox 44">
              <a:extLst>
                <a:ext uri="{FF2B5EF4-FFF2-40B4-BE49-F238E27FC236}">
                  <a16:creationId xmlns:a16="http://schemas.microsoft.com/office/drawing/2014/main" id="{D31A434C-3C2A-55DA-5F10-C86B28967BE5}"/>
                </a:ext>
              </a:extLst>
            </p:cNvPr>
            <p:cNvSpPr txBox="1"/>
            <p:nvPr/>
          </p:nvSpPr>
          <p:spPr>
            <a:xfrm rot="492577">
              <a:off x="5576807" y="5152162"/>
              <a:ext cx="1273337" cy="3982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Training &amp; Support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64" name="Group 36">
              <a:extLst>
                <a:ext uri="{FF2B5EF4-FFF2-40B4-BE49-F238E27FC236}">
                  <a16:creationId xmlns:a16="http://schemas.microsoft.com/office/drawing/2014/main" id="{07A6DFCB-CDEC-DB96-868B-036BADEA606C}"/>
                </a:ext>
              </a:extLst>
            </p:cNvPr>
            <p:cNvGrpSpPr/>
            <p:nvPr/>
          </p:nvGrpSpPr>
          <p:grpSpPr>
            <a:xfrm rot="4563787">
              <a:off x="7939336" y="1011157"/>
              <a:ext cx="1700237" cy="1499204"/>
              <a:chOff x="0" y="-57150"/>
              <a:chExt cx="812800" cy="755650"/>
            </a:xfrm>
          </p:grpSpPr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9C176760-7C64-B7A9-069A-31A4B3E1A3D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66" name="TextBox 38">
                <a:extLst>
                  <a:ext uri="{FF2B5EF4-FFF2-40B4-BE49-F238E27FC236}">
                    <a16:creationId xmlns:a16="http://schemas.microsoft.com/office/drawing/2014/main" id="{CBA7B12F-B142-132E-C99E-AE05C5CF4E1B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7" name="TextBox 44">
              <a:extLst>
                <a:ext uri="{FF2B5EF4-FFF2-40B4-BE49-F238E27FC236}">
                  <a16:creationId xmlns:a16="http://schemas.microsoft.com/office/drawing/2014/main" id="{FB6D7AA3-FAC7-F281-3EC9-48E43D2EBC3E}"/>
                </a:ext>
              </a:extLst>
            </p:cNvPr>
            <p:cNvSpPr txBox="1"/>
            <p:nvPr/>
          </p:nvSpPr>
          <p:spPr>
            <a:xfrm rot="919904">
              <a:off x="8041912" y="1618428"/>
              <a:ext cx="1343934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ati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B1D1B3F-EF4B-955D-C332-97F3029376AC}"/>
              </a:ext>
            </a:extLst>
          </p:cNvPr>
          <p:cNvGrpSpPr/>
          <p:nvPr/>
        </p:nvGrpSpPr>
        <p:grpSpPr>
          <a:xfrm>
            <a:off x="448098" y="1530495"/>
            <a:ext cx="5877580" cy="5179329"/>
            <a:chOff x="448098" y="1530495"/>
            <a:chExt cx="5877580" cy="5179329"/>
          </a:xfrm>
        </p:grpSpPr>
        <p:grpSp>
          <p:nvGrpSpPr>
            <p:cNvPr id="20" name="Group 27">
              <a:extLst>
                <a:ext uri="{FF2B5EF4-FFF2-40B4-BE49-F238E27FC236}">
                  <a16:creationId xmlns:a16="http://schemas.microsoft.com/office/drawing/2014/main" id="{486627FF-EE52-7F45-38BC-F79F8D9FA0BC}"/>
                </a:ext>
              </a:extLst>
            </p:cNvPr>
            <p:cNvGrpSpPr/>
            <p:nvPr/>
          </p:nvGrpSpPr>
          <p:grpSpPr>
            <a:xfrm rot="4692662">
              <a:off x="4782650" y="1687704"/>
              <a:ext cx="1700237" cy="1385819"/>
              <a:chOff x="0" y="-57150"/>
              <a:chExt cx="812800" cy="755650"/>
            </a:xfrm>
          </p:grpSpPr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D0CD1AFC-0F4A-5B2F-E047-A4B4AC06DF7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6" name="TextBox 29">
                <a:extLst>
                  <a:ext uri="{FF2B5EF4-FFF2-40B4-BE49-F238E27FC236}">
                    <a16:creationId xmlns:a16="http://schemas.microsoft.com/office/drawing/2014/main" id="{626544D3-85CD-3A59-3708-8717342E4E63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8" name="TextBox 45">
              <a:extLst>
                <a:ext uri="{FF2B5EF4-FFF2-40B4-BE49-F238E27FC236}">
                  <a16:creationId xmlns:a16="http://schemas.microsoft.com/office/drawing/2014/main" id="{2D2E0E1A-C271-AF16-370A-D5AA7EF8D4BC}"/>
                </a:ext>
              </a:extLst>
            </p:cNvPr>
            <p:cNvSpPr txBox="1"/>
            <p:nvPr/>
          </p:nvSpPr>
          <p:spPr>
            <a:xfrm rot="21353699">
              <a:off x="4970820" y="2277733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cur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B600A3D-742B-E856-2231-640E7F7E53F8}"/>
                </a:ext>
              </a:extLst>
            </p:cNvPr>
            <p:cNvGrpSpPr/>
            <p:nvPr/>
          </p:nvGrpSpPr>
          <p:grpSpPr>
            <a:xfrm rot="2912615">
              <a:off x="1530662" y="1134191"/>
              <a:ext cx="2419186" cy="4584314"/>
              <a:chOff x="605352" y="1485233"/>
              <a:chExt cx="2419186" cy="4584314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46F68BF-62D9-C506-887E-86786363E938}"/>
                  </a:ext>
                </a:extLst>
              </p:cNvPr>
              <p:cNvGrpSpPr/>
              <p:nvPr/>
            </p:nvGrpSpPr>
            <p:grpSpPr>
              <a:xfrm rot="5400000">
                <a:off x="548791" y="2998268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5" name="Group 30">
                  <a:extLst>
                    <a:ext uri="{FF2B5EF4-FFF2-40B4-BE49-F238E27FC236}">
                      <a16:creationId xmlns:a16="http://schemas.microsoft.com/office/drawing/2014/main" id="{483215D1-101B-2A0B-5F10-DCE7DADF9217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7" name="Freeform 31">
                    <a:extLst>
                      <a:ext uri="{FF2B5EF4-FFF2-40B4-BE49-F238E27FC236}">
                        <a16:creationId xmlns:a16="http://schemas.microsoft.com/office/drawing/2014/main" id="{E3844986-DB04-128A-E723-E244253374E8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8" name="TextBox 32">
                    <a:extLst>
                      <a:ext uri="{FF2B5EF4-FFF2-40B4-BE49-F238E27FC236}">
                        <a16:creationId xmlns:a16="http://schemas.microsoft.com/office/drawing/2014/main" id="{BD04AD10-7390-AB62-70D7-6EBF15990B70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 dirty="0"/>
                  </a:p>
                </p:txBody>
              </p:sp>
            </p:grpSp>
            <p:sp>
              <p:nvSpPr>
                <p:cNvPr id="16" name="TextBox 43">
                  <a:extLst>
                    <a:ext uri="{FF2B5EF4-FFF2-40B4-BE49-F238E27FC236}">
                      <a16:creationId xmlns:a16="http://schemas.microsoft.com/office/drawing/2014/main" id="{EFCC1D1B-C073-62A8-3A0D-F2893F2D3859}"/>
                    </a:ext>
                  </a:extLst>
                </p:cNvPr>
                <p:cNvSpPr txBox="1"/>
                <p:nvPr/>
              </p:nvSpPr>
              <p:spPr>
                <a:xfrm rot="12990713">
                  <a:off x="6237573" y="500268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Avai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24A034F-B6A6-3F8D-9CE2-68F729879D39}"/>
                  </a:ext>
                </a:extLst>
              </p:cNvPr>
              <p:cNvGrpSpPr/>
              <p:nvPr/>
            </p:nvGrpSpPr>
            <p:grpSpPr>
              <a:xfrm rot="5400000">
                <a:off x="1380862" y="1541794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1" name="Group 30">
                  <a:extLst>
                    <a:ext uri="{FF2B5EF4-FFF2-40B4-BE49-F238E27FC236}">
                      <a16:creationId xmlns:a16="http://schemas.microsoft.com/office/drawing/2014/main" id="{2432F1C9-5785-926D-5A43-6D673CDE2229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3" name="Freeform 31">
                    <a:extLst>
                      <a:ext uri="{FF2B5EF4-FFF2-40B4-BE49-F238E27FC236}">
                        <a16:creationId xmlns:a16="http://schemas.microsoft.com/office/drawing/2014/main" id="{358157EB-E640-2A31-49C6-5A52DA1B78B9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4" name="TextBox 32">
                    <a:extLst>
                      <a:ext uri="{FF2B5EF4-FFF2-40B4-BE49-F238E27FC236}">
                        <a16:creationId xmlns:a16="http://schemas.microsoft.com/office/drawing/2014/main" id="{8AE610B2-3B80-1DD8-9F61-ED181C85AD14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12" name="TextBox 43">
                  <a:extLst>
                    <a:ext uri="{FF2B5EF4-FFF2-40B4-BE49-F238E27FC236}">
                      <a16:creationId xmlns:a16="http://schemas.microsoft.com/office/drawing/2014/main" id="{C2DBAC5F-FB5D-4A24-3AF2-DE7DF5BE5986}"/>
                    </a:ext>
                  </a:extLst>
                </p:cNvPr>
                <p:cNvSpPr txBox="1"/>
                <p:nvPr/>
              </p:nvSpPr>
              <p:spPr>
                <a:xfrm rot="13088697">
                  <a:off x="6311469" y="4844601"/>
                  <a:ext cx="2105049" cy="655501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Fault Tolerance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BADADFD-BF45-E06E-C6F7-4AA96EED205D}"/>
                  </a:ext>
                </a:extLst>
              </p:cNvPr>
              <p:cNvGrpSpPr/>
              <p:nvPr/>
            </p:nvGrpSpPr>
            <p:grpSpPr>
              <a:xfrm rot="5400000">
                <a:off x="1304279" y="4425871"/>
                <a:ext cx="1700237" cy="1587115"/>
                <a:chOff x="5911966" y="3721943"/>
                <a:chExt cx="2810790" cy="2613157"/>
              </a:xfrm>
            </p:grpSpPr>
            <p:grpSp>
              <p:nvGrpSpPr>
                <p:cNvPr id="7" name="Group 30">
                  <a:extLst>
                    <a:ext uri="{FF2B5EF4-FFF2-40B4-BE49-F238E27FC236}">
                      <a16:creationId xmlns:a16="http://schemas.microsoft.com/office/drawing/2014/main" id="{6CBDBD67-EA0F-D79A-E607-442229204B9C}"/>
                    </a:ext>
                  </a:extLst>
                </p:cNvPr>
                <p:cNvGrpSpPr/>
                <p:nvPr/>
              </p:nvGrpSpPr>
              <p:grpSpPr>
                <a:xfrm>
                  <a:off x="5911966" y="3721943"/>
                  <a:ext cx="2810790" cy="2613157"/>
                  <a:chOff x="-14214" y="-57150"/>
                  <a:chExt cx="812800" cy="755650"/>
                </a:xfrm>
              </p:grpSpPr>
              <p:sp>
                <p:nvSpPr>
                  <p:cNvPr id="9" name="Freeform 31">
                    <a:extLst>
                      <a:ext uri="{FF2B5EF4-FFF2-40B4-BE49-F238E27FC236}">
                        <a16:creationId xmlns:a16="http://schemas.microsoft.com/office/drawing/2014/main" id="{5955ED66-6855-2817-F672-986E5D52F7EA}"/>
                      </a:ext>
                    </a:extLst>
                  </p:cNvPr>
                  <p:cNvSpPr/>
                  <p:nvPr/>
                </p:nvSpPr>
                <p:spPr>
                  <a:xfrm>
                    <a:off x="-14214" y="-18714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0" name="TextBox 32">
                    <a:extLst>
                      <a:ext uri="{FF2B5EF4-FFF2-40B4-BE49-F238E27FC236}">
                        <a16:creationId xmlns:a16="http://schemas.microsoft.com/office/drawing/2014/main" id="{9975FB11-5879-CFA2-4687-4E93DF0ED2A7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8" name="TextBox 43">
                  <a:extLst>
                    <a:ext uri="{FF2B5EF4-FFF2-40B4-BE49-F238E27FC236}">
                      <a16:creationId xmlns:a16="http://schemas.microsoft.com/office/drawing/2014/main" id="{D9C8C162-3D29-E3BD-1C00-1FE07140005B}"/>
                    </a:ext>
                  </a:extLst>
                </p:cNvPr>
                <p:cNvSpPr txBox="1"/>
                <p:nvPr/>
              </p:nvSpPr>
              <p:spPr>
                <a:xfrm rot="12892460">
                  <a:off x="6264836" y="485913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Sca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</p:grpSp>
        <p:grpSp>
          <p:nvGrpSpPr>
            <p:cNvPr id="61" name="Group 27">
              <a:extLst>
                <a:ext uri="{FF2B5EF4-FFF2-40B4-BE49-F238E27FC236}">
                  <a16:creationId xmlns:a16="http://schemas.microsoft.com/office/drawing/2014/main" id="{368B442D-3E10-7C71-3BC3-142BF148FEDF}"/>
                </a:ext>
              </a:extLst>
            </p:cNvPr>
            <p:cNvGrpSpPr/>
            <p:nvPr/>
          </p:nvGrpSpPr>
          <p:grpSpPr>
            <a:xfrm rot="4692662">
              <a:off x="2176447" y="5110104"/>
              <a:ext cx="1700237" cy="1499204"/>
              <a:chOff x="0" y="-57150"/>
              <a:chExt cx="812800" cy="755650"/>
            </a:xfrm>
          </p:grpSpPr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6C8347B3-7BFE-1957-2C21-5944165A6A6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63" name="TextBox 29">
                <a:extLst>
                  <a:ext uri="{FF2B5EF4-FFF2-40B4-BE49-F238E27FC236}">
                    <a16:creationId xmlns:a16="http://schemas.microsoft.com/office/drawing/2014/main" id="{BF528B01-773C-1FFA-E259-700FD47231EE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8" name="TextBox 45">
              <a:extLst>
                <a:ext uri="{FF2B5EF4-FFF2-40B4-BE49-F238E27FC236}">
                  <a16:creationId xmlns:a16="http://schemas.microsoft.com/office/drawing/2014/main" id="{49C8C9B2-BA1F-30BA-4DE6-2C3466214888}"/>
                </a:ext>
              </a:extLst>
            </p:cNvPr>
            <p:cNvSpPr txBox="1"/>
            <p:nvPr/>
          </p:nvSpPr>
          <p:spPr>
            <a:xfrm rot="21367686">
              <a:off x="2323907" y="5760242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Usabil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501D1245-614A-791E-5B90-BDB5EA2CE771}"/>
              </a:ext>
            </a:extLst>
          </p:cNvPr>
          <p:cNvSpPr txBox="1"/>
          <p:nvPr/>
        </p:nvSpPr>
        <p:spPr>
          <a:xfrm>
            <a:off x="3478807" y="82240"/>
            <a:ext cx="534038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 cont.</a:t>
            </a:r>
          </a:p>
        </p:txBody>
      </p:sp>
      <p:sp>
        <p:nvSpPr>
          <p:cNvPr id="58" name="Freeform 28">
            <a:extLst>
              <a:ext uri="{FF2B5EF4-FFF2-40B4-BE49-F238E27FC236}">
                <a16:creationId xmlns:a16="http://schemas.microsoft.com/office/drawing/2014/main" id="{ABD7CA48-6A9C-3170-164D-C3BFC111CE4A}"/>
              </a:ext>
            </a:extLst>
          </p:cNvPr>
          <p:cNvSpPr/>
          <p:nvPr/>
        </p:nvSpPr>
        <p:spPr>
          <a:xfrm rot="16200000">
            <a:off x="187658" y="170822"/>
            <a:ext cx="1700237" cy="1754531"/>
          </a:xfrm>
          <a:custGeom>
            <a:avLst/>
            <a:gdLst/>
            <a:ahLst/>
            <a:cxnLst/>
            <a:rect l="l" t="t" r="r" b="b"/>
            <a:pathLst>
              <a:path w="812800" h="698500">
                <a:moveTo>
                  <a:pt x="812800" y="349250"/>
                </a:moveTo>
                <a:lnTo>
                  <a:pt x="609600" y="698500"/>
                </a:lnTo>
                <a:lnTo>
                  <a:pt x="203200" y="698500"/>
                </a:lnTo>
                <a:lnTo>
                  <a:pt x="0" y="349250"/>
                </a:lnTo>
                <a:lnTo>
                  <a:pt x="203200" y="0"/>
                </a:lnTo>
                <a:lnTo>
                  <a:pt x="609600" y="0"/>
                </a:lnTo>
                <a:lnTo>
                  <a:pt x="812800" y="34925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6200" cmpd="thickThin">
            <a:solidFill>
              <a:schemeClr val="tx1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ar-EG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84" name="Picture 83" descr="A cartoon character with a black background">
            <a:extLst>
              <a:ext uri="{FF2B5EF4-FFF2-40B4-BE49-F238E27FC236}">
                <a16:creationId xmlns:a16="http://schemas.microsoft.com/office/drawing/2014/main" id="{6FF5CC51-0A08-EDDA-84D2-AA01A28F4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" y="-29112"/>
            <a:ext cx="2418492" cy="2465407"/>
          </a:xfrm>
          <a:prstGeom prst="rect">
            <a:avLst/>
          </a:prstGeom>
        </p:spPr>
      </p:pic>
      <p:sp>
        <p:nvSpPr>
          <p:cNvPr id="59" name="TextBox 29">
            <a:extLst>
              <a:ext uri="{FF2B5EF4-FFF2-40B4-BE49-F238E27FC236}">
                <a16:creationId xmlns:a16="http://schemas.microsoft.com/office/drawing/2014/main" id="{3301D87E-DF15-ECAC-E015-707D5F8BE864}"/>
              </a:ext>
            </a:extLst>
          </p:cNvPr>
          <p:cNvSpPr txBox="1"/>
          <p:nvPr/>
        </p:nvSpPr>
        <p:spPr>
          <a:xfrm rot="4692662">
            <a:off x="5174146" y="1840104"/>
            <a:ext cx="1222045" cy="1385819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899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88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5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F7C102-465C-F6CD-8263-2D68DFE8A947}"/>
              </a:ext>
            </a:extLst>
          </p:cNvPr>
          <p:cNvSpPr txBox="1"/>
          <p:nvPr/>
        </p:nvSpPr>
        <p:spPr>
          <a:xfrm>
            <a:off x="89783" y="2610062"/>
            <a:ext cx="3571810" cy="1602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" name="Teardrop 1">
            <a:extLst>
              <a:ext uri="{FF2B5EF4-FFF2-40B4-BE49-F238E27FC236}">
                <a16:creationId xmlns:a16="http://schemas.microsoft.com/office/drawing/2014/main" id="{156347F4-81DF-E1EE-624E-014B09FE22B9}"/>
              </a:ext>
            </a:extLst>
          </p:cNvPr>
          <p:cNvSpPr/>
          <p:nvPr/>
        </p:nvSpPr>
        <p:spPr>
          <a:xfrm>
            <a:off x="12830" y="0"/>
            <a:ext cx="1862858" cy="186944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863F8DDD-F516-C029-FF7D-344B8970B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98" y="-127383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9B6D63A-1333-F528-1E49-990B0F07A664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C0321C3-F73A-4A3B-436D-6816BA29BDC2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DAAA2-492C-4E3A-E7CB-ADB423BE459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8A75E68-97D3-5921-C964-0DBACE94E15A}"/>
              </a:ext>
            </a:extLst>
          </p:cNvPr>
          <p:cNvGrpSpPr/>
          <p:nvPr/>
        </p:nvGrpSpPr>
        <p:grpSpPr>
          <a:xfrm>
            <a:off x="4613360" y="231211"/>
            <a:ext cx="7210425" cy="6041769"/>
            <a:chOff x="4613360" y="231211"/>
            <a:chExt cx="7210425" cy="60417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3893D88-41CC-4058-A344-7663F69D1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13360" y="231211"/>
              <a:ext cx="7210425" cy="604176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chemeClr val="accent2">
                  <a:lumMod val="60000"/>
                  <a:lumOff val="40000"/>
                </a:schemeClr>
              </a:solidFill>
              <a:miter lim="800000"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E533C2F-1A27-69C5-8E36-2B976C9DB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916" y="1875997"/>
              <a:ext cx="2684206" cy="92405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546E32E-C323-0F51-8273-927345A01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51371" y="2990121"/>
              <a:ext cx="2416629" cy="52394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89766D-0A2B-03BD-E944-8886686BCC46}"/>
                </a:ext>
              </a:extLst>
            </p:cNvPr>
            <p:cNvSpPr/>
            <p:nvPr/>
          </p:nvSpPr>
          <p:spPr>
            <a:xfrm>
              <a:off x="8207687" y="2024743"/>
              <a:ext cx="2505456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2B65EC-A826-7E34-EE17-DDF79B2263A5}"/>
                </a:ext>
              </a:extLst>
            </p:cNvPr>
            <p:cNvSpPr/>
            <p:nvPr/>
          </p:nvSpPr>
          <p:spPr>
            <a:xfrm>
              <a:off x="5435772" y="2800051"/>
              <a:ext cx="2587349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408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27062-243B-1765-84E1-DA961D0AC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07BE74E-7F46-DA98-A625-1BA4E172322C}"/>
              </a:ext>
            </a:extLst>
          </p:cNvPr>
          <p:cNvSpPr txBox="1"/>
          <p:nvPr/>
        </p:nvSpPr>
        <p:spPr>
          <a:xfrm>
            <a:off x="105898" y="2667381"/>
            <a:ext cx="3571810" cy="154779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un 6">
            <a:extLst>
              <a:ext uri="{FF2B5EF4-FFF2-40B4-BE49-F238E27FC236}">
                <a16:creationId xmlns:a16="http://schemas.microsoft.com/office/drawing/2014/main" id="{7F0CD69B-6D39-ED1C-F4F9-962DF3CE404B}"/>
              </a:ext>
            </a:extLst>
          </p:cNvPr>
          <p:cNvSpPr/>
          <p:nvPr/>
        </p:nvSpPr>
        <p:spPr>
          <a:xfrm rot="20735335">
            <a:off x="1" y="68498"/>
            <a:ext cx="2418492" cy="2080202"/>
          </a:xfrm>
          <a:prstGeom prst="sun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1A709A8F-BAF1-E39B-EF53-94A6C6557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8" y="0"/>
            <a:ext cx="2418492" cy="2465407"/>
          </a:xfrm>
          <a:prstGeom prst="rect">
            <a:avLst/>
          </a:prstGeom>
        </p:spPr>
      </p:pic>
      <p:grpSp>
        <p:nvGrpSpPr>
          <p:cNvPr id="9" name="Group 3">
            <a:extLst>
              <a:ext uri="{FF2B5EF4-FFF2-40B4-BE49-F238E27FC236}">
                <a16:creationId xmlns:a16="http://schemas.microsoft.com/office/drawing/2014/main" id="{3FCD2FC6-207E-528C-6826-24E4585CAEB0}"/>
              </a:ext>
            </a:extLst>
          </p:cNvPr>
          <p:cNvGrpSpPr/>
          <p:nvPr/>
        </p:nvGrpSpPr>
        <p:grpSpPr>
          <a:xfrm>
            <a:off x="24335" y="4217629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16450493-9C1C-3578-0413-3F1A2170B8E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4C548C5-B4A5-B4E9-DAFC-C1A8D85AF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E3F6C6-6616-1ACE-A0D0-38A3F2F201BD}"/>
              </a:ext>
            </a:extLst>
          </p:cNvPr>
          <p:cNvGrpSpPr/>
          <p:nvPr/>
        </p:nvGrpSpPr>
        <p:grpSpPr>
          <a:xfrm>
            <a:off x="3749356" y="254328"/>
            <a:ext cx="8168324" cy="5811520"/>
            <a:chOff x="3749356" y="254328"/>
            <a:chExt cx="8168324" cy="581152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224A987-C327-10EC-BD24-0CA4A52F9C55}"/>
                </a:ext>
              </a:extLst>
            </p:cNvPr>
            <p:cNvGrpSpPr/>
            <p:nvPr/>
          </p:nvGrpSpPr>
          <p:grpSpPr>
            <a:xfrm>
              <a:off x="3749356" y="254328"/>
              <a:ext cx="8168324" cy="5811520"/>
              <a:chOff x="3749356" y="254328"/>
              <a:chExt cx="8168324" cy="581152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A02F19A-BD6B-A8CE-A66B-E2150707F5F8}"/>
                  </a:ext>
                </a:extLst>
              </p:cNvPr>
              <p:cNvGrpSpPr/>
              <p:nvPr/>
            </p:nvGrpSpPr>
            <p:grpSpPr>
              <a:xfrm>
                <a:off x="3749356" y="254328"/>
                <a:ext cx="8168324" cy="5811520"/>
                <a:chOff x="3749356" y="254328"/>
                <a:chExt cx="8168324" cy="5811520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36EBEA7-3D23-1CAC-FF6E-89DF60481A3A}"/>
                    </a:ext>
                  </a:extLst>
                </p:cNvPr>
                <p:cNvGrpSpPr/>
                <p:nvPr/>
              </p:nvGrpSpPr>
              <p:grpSpPr>
                <a:xfrm>
                  <a:off x="3749356" y="254328"/>
                  <a:ext cx="8168324" cy="5811520"/>
                  <a:chOff x="3749356" y="254328"/>
                  <a:chExt cx="8168324" cy="5811520"/>
                </a:xfrm>
              </p:grpSpPr>
              <p:pic>
                <p:nvPicPr>
                  <p:cNvPr id="4" name="Picture 3" descr="A diagram of a computer program&#10;&#10;Description automatically generated">
                    <a:extLst>
                      <a:ext uri="{FF2B5EF4-FFF2-40B4-BE49-F238E27FC236}">
                        <a16:creationId xmlns:a16="http://schemas.microsoft.com/office/drawing/2014/main" id="{12E5C815-FB28-349C-5D75-96A3999B25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49356" y="254328"/>
                    <a:ext cx="8168324" cy="5811520"/>
                  </a:xfrm>
                  <a:prstGeom prst="roundRect">
                    <a:avLst>
                      <a:gd name="adj" fmla="val 4167"/>
                    </a:avLst>
                  </a:prstGeom>
                  <a:solidFill>
                    <a:srgbClr val="FFFFFF"/>
                  </a:solidFill>
                  <a:ln w="76200" cap="sq">
                    <a:solidFill>
                      <a:schemeClr val="accent2">
                        <a:lumMod val="60000"/>
                        <a:lumOff val="40000"/>
                      </a:schemeClr>
                    </a:solidFill>
                    <a:miter lim="800000"/>
                  </a:ln>
                  <a:effectLst>
                    <a:glow rad="228600">
                      <a:schemeClr val="accent1">
                        <a:satMod val="175000"/>
                        <a:alpha val="40000"/>
                      </a:schemeClr>
                    </a:glow>
                    <a:outerShdw blurRad="76200" dir="13500000" sy="23000" kx="1200000" algn="br" rotWithShape="0">
                      <a:prstClr val="black">
                        <a:alpha val="20000"/>
                      </a:prstClr>
                    </a:outerShdw>
                    <a:reflection blurRad="12700" stA="28000" endPos="28000" dist="5000" dir="5400000" sy="-100000" algn="bl" rotWithShape="0"/>
                  </a:effectLst>
                  <a:scene3d>
                    <a:camera prst="orthographicFront"/>
                    <a:lightRig rig="threePt" dir="t">
                      <a:rot lat="0" lon="0" rev="2700000"/>
                    </a:lightRig>
                  </a:scene3d>
                  <a:sp3d>
                    <a:bevelT h="38100"/>
                    <a:contourClr>
                      <a:srgbClr val="C0C0C0"/>
                    </a:contourClr>
                  </a:sp3d>
                </p:spPr>
              </p:pic>
              <p:sp>
                <p:nvSpPr>
                  <p:cNvPr id="2" name="Rectangle 1">
                    <a:extLst>
                      <a:ext uri="{FF2B5EF4-FFF2-40B4-BE49-F238E27FC236}">
                        <a16:creationId xmlns:a16="http://schemas.microsoft.com/office/drawing/2014/main" id="{4FF2F274-80DC-DA08-0851-A9746EB075FE}"/>
                      </a:ext>
                    </a:extLst>
                  </p:cNvPr>
                  <p:cNvSpPr/>
                  <p:nvPr/>
                </p:nvSpPr>
                <p:spPr>
                  <a:xfrm>
                    <a:off x="5177993" y="1558269"/>
                    <a:ext cx="3511296" cy="12985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6" name="Straight Arrow Connector 15">
                  <a:extLst>
                    <a:ext uri="{FF2B5EF4-FFF2-40B4-BE49-F238E27FC236}">
                      <a16:creationId xmlns:a16="http://schemas.microsoft.com/office/drawing/2014/main" id="{17208303-A3BF-C5A1-D8CB-75447CBC972F}"/>
                    </a:ext>
                  </a:extLst>
                </p:cNvPr>
                <p:cNvCxnSpPr/>
                <p:nvPr/>
              </p:nvCxnSpPr>
              <p:spPr>
                <a:xfrm flipH="1">
                  <a:off x="5177993" y="1574502"/>
                  <a:ext cx="3462816" cy="0"/>
                </a:xfrm>
                <a:prstGeom prst="straightConnector1">
                  <a:avLst/>
                </a:prstGeom>
                <a:ln w="12700">
                  <a:solidFill>
                    <a:srgbClr val="87E75E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CEEE29A-05BA-1BFA-E462-99B14BBA8F75}"/>
                  </a:ext>
                </a:extLst>
              </p:cNvPr>
              <p:cNvSpPr txBox="1"/>
              <p:nvPr/>
            </p:nvSpPr>
            <p:spPr>
              <a:xfrm>
                <a:off x="8915400" y="2380322"/>
                <a:ext cx="1168400" cy="2154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800" b="1" dirty="0">
                    <a:solidFill>
                      <a:schemeClr val="bg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ail is invalid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1B289FF-9B17-8720-8ED8-47636F4B230B}"/>
                </a:ext>
              </a:extLst>
            </p:cNvPr>
            <p:cNvSpPr txBox="1"/>
            <p:nvPr/>
          </p:nvSpPr>
          <p:spPr>
            <a:xfrm>
              <a:off x="5241493" y="779341"/>
              <a:ext cx="145140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bg2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lick on forget butt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4226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5D5D0-66A5-D247-0DBA-EED48F2D8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BCB7E1-9E85-B5AC-3A33-8775FF21F49B}"/>
              </a:ext>
            </a:extLst>
          </p:cNvPr>
          <p:cNvSpPr txBox="1"/>
          <p:nvPr/>
        </p:nvSpPr>
        <p:spPr>
          <a:xfrm>
            <a:off x="77008" y="2705937"/>
            <a:ext cx="3571810" cy="15092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croll: Horizontal 6">
            <a:extLst>
              <a:ext uri="{FF2B5EF4-FFF2-40B4-BE49-F238E27FC236}">
                <a16:creationId xmlns:a16="http://schemas.microsoft.com/office/drawing/2014/main" id="{CA75C7EA-2717-4BDE-A05D-71E5C50F5BF4}"/>
              </a:ext>
            </a:extLst>
          </p:cNvPr>
          <p:cNvSpPr/>
          <p:nvPr/>
        </p:nvSpPr>
        <p:spPr>
          <a:xfrm>
            <a:off x="77008" y="120718"/>
            <a:ext cx="2550160" cy="1844735"/>
          </a:xfrm>
          <a:prstGeom prst="horizontalScroll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42F0D3-DD79-208A-D2CB-7DD5E2B93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1" y="0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CDEFD0C2-B287-6CCB-9822-CC09576948C7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61FAE3D-A73F-D525-B17F-086B8EFF297F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DFBF1D-77DA-9289-F07D-558C25F7FF3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15F8713-719C-493A-D088-0E4DC8BE0C4F}"/>
              </a:ext>
            </a:extLst>
          </p:cNvPr>
          <p:cNvSpPr txBox="1"/>
          <p:nvPr/>
        </p:nvSpPr>
        <p:spPr>
          <a:xfrm>
            <a:off x="9877530" y="775629"/>
            <a:ext cx="733529" cy="338554"/>
          </a:xfrm>
          <a:prstGeom prst="rect">
            <a:avLst/>
          </a:prstGeom>
          <a:solidFill>
            <a:srgbClr val="DFEE9B"/>
          </a:solidFill>
        </p:spPr>
        <p:txBody>
          <a:bodyPr wrap="square" rtlCol="0">
            <a:spAutoFit/>
          </a:bodyPr>
          <a:lstStyle/>
          <a:p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C697E0A-04C3-486C-C03C-9025084CA550}"/>
              </a:ext>
            </a:extLst>
          </p:cNvPr>
          <p:cNvGrpSpPr/>
          <p:nvPr/>
        </p:nvGrpSpPr>
        <p:grpSpPr>
          <a:xfrm>
            <a:off x="4185509" y="347663"/>
            <a:ext cx="7701691" cy="5734708"/>
            <a:chOff x="4185509" y="347663"/>
            <a:chExt cx="7701691" cy="573470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FEBD612-6C67-A2C2-11EE-C7AEBE70C98A}"/>
                </a:ext>
              </a:extLst>
            </p:cNvPr>
            <p:cNvGrpSpPr/>
            <p:nvPr/>
          </p:nvGrpSpPr>
          <p:grpSpPr>
            <a:xfrm>
              <a:off x="4185509" y="347663"/>
              <a:ext cx="7701691" cy="5734708"/>
              <a:chOff x="4185509" y="347663"/>
              <a:chExt cx="7701691" cy="5734708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9C4C1EE-6288-ABC8-5763-EF50D8FA0723}"/>
                  </a:ext>
                </a:extLst>
              </p:cNvPr>
              <p:cNvGrpSpPr/>
              <p:nvPr/>
            </p:nvGrpSpPr>
            <p:grpSpPr>
              <a:xfrm>
                <a:off x="4185509" y="347663"/>
                <a:ext cx="7701691" cy="5734708"/>
                <a:chOff x="4185509" y="347663"/>
                <a:chExt cx="7701691" cy="5734708"/>
              </a:xfrm>
            </p:grpSpPr>
            <p:pic>
              <p:nvPicPr>
                <p:cNvPr id="10" name="Picture 9" descr="A diagram of a user flow&#10;&#10;Description automatically generated">
                  <a:extLst>
                    <a:ext uri="{FF2B5EF4-FFF2-40B4-BE49-F238E27FC236}">
                      <a16:creationId xmlns:a16="http://schemas.microsoft.com/office/drawing/2014/main" id="{81F5A928-B8D5-EEF6-EF9D-41EE5022F6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5509" y="347663"/>
                  <a:ext cx="7701691" cy="5734708"/>
                </a:xfrm>
                <a:prstGeom prst="roundRect">
                  <a:avLst>
                    <a:gd name="adj" fmla="val 4167"/>
                  </a:avLst>
                </a:prstGeom>
                <a:solidFill>
                  <a:srgbClr val="FFFFFF"/>
                </a:solidFill>
                <a:ln w="76200" cap="sq">
                  <a:solidFill>
                    <a:schemeClr val="accent2">
                      <a:lumMod val="60000"/>
                      <a:lumOff val="40000"/>
                    </a:schemeClr>
                  </a:solidFill>
                  <a:miter lim="800000"/>
                </a:ln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  <a:reflection blurRad="12700" stA="28000" endPos="28000" dist="5000" dir="5400000" sy="-100000" algn="bl" rotWithShape="0"/>
                </a:effectLst>
                <a:scene3d>
                  <a:camera prst="orthographicFront"/>
                  <a:lightRig rig="threePt" dir="t">
                    <a:rot lat="0" lon="0" rev="2700000"/>
                  </a:lightRig>
                </a:scene3d>
                <a:sp3d>
                  <a:bevelT h="38100"/>
                  <a:contourClr>
                    <a:srgbClr val="C0C0C0"/>
                  </a:contourClr>
                </a:sp3d>
              </p:spPr>
            </p:pic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EC328C99-1CC7-EBFE-A40F-2241C80A07CD}"/>
                    </a:ext>
                  </a:extLst>
                </p:cNvPr>
                <p:cNvSpPr txBox="1"/>
                <p:nvPr/>
              </p:nvSpPr>
              <p:spPr>
                <a:xfrm>
                  <a:off x="8487784" y="1965453"/>
                  <a:ext cx="1527585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ore data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64C6EAD-6642-2EA2-B55F-C195636F608F}"/>
                  </a:ext>
                </a:extLst>
              </p:cNvPr>
              <p:cNvSpPr txBox="1"/>
              <p:nvPr/>
            </p:nvSpPr>
            <p:spPr>
              <a:xfrm>
                <a:off x="9922410" y="806406"/>
                <a:ext cx="688650" cy="307777"/>
              </a:xfrm>
              <a:prstGeom prst="rect">
                <a:avLst/>
              </a:prstGeom>
              <a:solidFill>
                <a:srgbClr val="DEEE97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350" b="1" dirty="0"/>
                  <a:t>Server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9743671-0014-E3DA-9859-0FBED7A112EC}"/>
                </a:ext>
              </a:extLst>
            </p:cNvPr>
            <p:cNvSpPr txBox="1"/>
            <p:nvPr/>
          </p:nvSpPr>
          <p:spPr>
            <a:xfrm>
              <a:off x="6345936" y="3070421"/>
              <a:ext cx="112776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dres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F117290-415F-8DCB-3E9D-FE6B4AFC12D4}"/>
                </a:ext>
              </a:extLst>
            </p:cNvPr>
            <p:cNvSpPr txBox="1"/>
            <p:nvPr/>
          </p:nvSpPr>
          <p:spPr>
            <a:xfrm>
              <a:off x="6909816" y="4996704"/>
              <a:ext cx="2237232" cy="2693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ate CV 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6076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lum bright="70000" contrast="-70000"/>
            </a:blip>
            <a:stretch>
              <a:fillRect l="-13719" t="-20591" b="-81576"/>
            </a:stretch>
          </a:blipFill>
          <a:ln>
            <a:solidFill>
              <a:schemeClr val="accent2">
                <a:lumMod val="50000"/>
              </a:schemeClr>
            </a:solidFill>
          </a:ln>
        </p:spPr>
        <p:txBody>
          <a:bodyPr/>
          <a:lstStyle/>
          <a:p>
            <a:endParaRPr lang="ar-EG" sz="1200" dirty="0">
              <a:solidFill>
                <a:srgbClr val="F2705B"/>
              </a:solidFill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809135" y="3724655"/>
            <a:ext cx="1673199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4" name="Freeform 4"/>
          <p:cNvSpPr/>
          <p:nvPr/>
        </p:nvSpPr>
        <p:spPr>
          <a:xfrm>
            <a:off x="609989" y="2265301"/>
            <a:ext cx="1709842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5272091" y="3565289"/>
            <a:ext cx="834986" cy="834983"/>
            <a:chOff x="0" y="0"/>
            <a:chExt cx="6350000" cy="634997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901374" y="2394358"/>
            <a:ext cx="131217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sp>
        <p:nvSpPr>
          <p:cNvPr id="10" name="Freeform 10"/>
          <p:cNvSpPr/>
          <p:nvPr/>
        </p:nvSpPr>
        <p:spPr>
          <a:xfrm>
            <a:off x="609988" y="3235955"/>
            <a:ext cx="1709841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1" name="TextBox 11"/>
          <p:cNvSpPr txBox="1"/>
          <p:nvPr/>
        </p:nvSpPr>
        <p:spPr>
          <a:xfrm>
            <a:off x="868546" y="3366371"/>
            <a:ext cx="1423196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MOHAMED S.</a:t>
            </a:r>
          </a:p>
        </p:txBody>
      </p:sp>
      <p:sp>
        <p:nvSpPr>
          <p:cNvPr id="12" name="Freeform 12"/>
          <p:cNvSpPr/>
          <p:nvPr/>
        </p:nvSpPr>
        <p:spPr>
          <a:xfrm>
            <a:off x="609989" y="4206609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3" name="TextBox 13"/>
          <p:cNvSpPr txBox="1"/>
          <p:nvPr/>
        </p:nvSpPr>
        <p:spPr>
          <a:xfrm>
            <a:off x="902983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AMIR S.</a:t>
            </a:r>
          </a:p>
        </p:txBody>
      </p:sp>
      <p:sp>
        <p:nvSpPr>
          <p:cNvPr id="14" name="Freeform 14"/>
          <p:cNvSpPr/>
          <p:nvPr/>
        </p:nvSpPr>
        <p:spPr>
          <a:xfrm>
            <a:off x="609988" y="5177263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5" name="TextBox 15"/>
          <p:cNvSpPr txBox="1"/>
          <p:nvPr/>
        </p:nvSpPr>
        <p:spPr>
          <a:xfrm>
            <a:off x="902983" y="5307679"/>
            <a:ext cx="1310569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84582" y="4025411"/>
            <a:ext cx="834986" cy="834983"/>
            <a:chOff x="0" y="0"/>
            <a:chExt cx="6350000" cy="634997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2944" y="3062034"/>
            <a:ext cx="834986" cy="834983"/>
            <a:chOff x="0" y="0"/>
            <a:chExt cx="6350000" cy="6349975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84582" y="4988787"/>
            <a:ext cx="834986" cy="834983"/>
            <a:chOff x="0" y="0"/>
            <a:chExt cx="6350000" cy="6349975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72944" y="2098657"/>
            <a:ext cx="834986" cy="834983"/>
            <a:chOff x="0" y="0"/>
            <a:chExt cx="6350000" cy="6349975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32" name="Freeform 32"/>
          <p:cNvSpPr/>
          <p:nvPr/>
        </p:nvSpPr>
        <p:spPr>
          <a:xfrm rot="5400000">
            <a:off x="6778909" y="1323842"/>
            <a:ext cx="5792172" cy="3622741"/>
          </a:xfrm>
          <a:custGeom>
            <a:avLst/>
            <a:gdLst/>
            <a:ahLst/>
            <a:cxnLst/>
            <a:rect l="l" t="t" r="r" b="b"/>
            <a:pathLst>
              <a:path w="8688258" h="5434111">
                <a:moveTo>
                  <a:pt x="0" y="0"/>
                </a:moveTo>
                <a:lnTo>
                  <a:pt x="8688259" y="0"/>
                </a:lnTo>
                <a:lnTo>
                  <a:pt x="8688259" y="5434111"/>
                </a:lnTo>
                <a:lnTo>
                  <a:pt x="0" y="5434111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solidFill>
              <a:srgbClr val="32839C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/>
            <a:lightRig rig="threePt" dir="t"/>
          </a:scene3d>
          <a:sp3d>
            <a:bevelT prst="slope"/>
          </a:sp3d>
        </p:spPr>
        <p:txBody>
          <a:bodyPr/>
          <a:lstStyle/>
          <a:p>
            <a:endParaRPr lang="ar-EG" sz="120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9389734" y="3919413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4" name="Freeform 34"/>
          <p:cNvSpPr/>
          <p:nvPr/>
        </p:nvSpPr>
        <p:spPr>
          <a:xfrm>
            <a:off x="8167365" y="410613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5" name="Freeform 35"/>
          <p:cNvSpPr/>
          <p:nvPr/>
        </p:nvSpPr>
        <p:spPr>
          <a:xfrm>
            <a:off x="9455641" y="190012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6" name="Freeform 36"/>
          <p:cNvSpPr/>
          <p:nvPr/>
        </p:nvSpPr>
        <p:spPr>
          <a:xfrm>
            <a:off x="10609154" y="414755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7" name="Freeform 37"/>
          <p:cNvSpPr/>
          <p:nvPr/>
        </p:nvSpPr>
        <p:spPr>
          <a:xfrm>
            <a:off x="9361680" y="5336267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38" name="Group 38"/>
          <p:cNvGrpSpPr>
            <a:grpSpLocks noChangeAspect="1"/>
          </p:cNvGrpSpPr>
          <p:nvPr/>
        </p:nvGrpSpPr>
        <p:grpSpPr>
          <a:xfrm>
            <a:off x="9429085" y="3964650"/>
            <a:ext cx="343566" cy="343565"/>
            <a:chOff x="0" y="0"/>
            <a:chExt cx="6350000" cy="6349975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0" name="Group 40"/>
          <p:cNvGrpSpPr>
            <a:grpSpLocks noChangeAspect="1"/>
          </p:cNvGrpSpPr>
          <p:nvPr/>
        </p:nvGrpSpPr>
        <p:grpSpPr>
          <a:xfrm>
            <a:off x="8206716" y="4151368"/>
            <a:ext cx="343566" cy="343565"/>
            <a:chOff x="0" y="0"/>
            <a:chExt cx="6350000" cy="6349975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2" name="Group 42"/>
          <p:cNvGrpSpPr>
            <a:grpSpLocks noChangeAspect="1"/>
          </p:cNvGrpSpPr>
          <p:nvPr/>
        </p:nvGrpSpPr>
        <p:grpSpPr>
          <a:xfrm>
            <a:off x="9494993" y="1945358"/>
            <a:ext cx="343566" cy="343565"/>
            <a:chOff x="0" y="0"/>
            <a:chExt cx="6350000" cy="6349975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4" name="Group 44"/>
          <p:cNvGrpSpPr>
            <a:grpSpLocks noChangeAspect="1"/>
          </p:cNvGrpSpPr>
          <p:nvPr/>
        </p:nvGrpSpPr>
        <p:grpSpPr>
          <a:xfrm>
            <a:off x="10648506" y="4192795"/>
            <a:ext cx="343566" cy="343565"/>
            <a:chOff x="0" y="0"/>
            <a:chExt cx="6350000" cy="6349975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6" name="Group 46"/>
          <p:cNvGrpSpPr>
            <a:grpSpLocks noChangeAspect="1"/>
          </p:cNvGrpSpPr>
          <p:nvPr/>
        </p:nvGrpSpPr>
        <p:grpSpPr>
          <a:xfrm>
            <a:off x="9401032" y="5381503"/>
            <a:ext cx="343566" cy="343565"/>
            <a:chOff x="0" y="0"/>
            <a:chExt cx="6350000" cy="6349975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52" name="TextBox 52"/>
          <p:cNvSpPr txBox="1"/>
          <p:nvPr/>
        </p:nvSpPr>
        <p:spPr>
          <a:xfrm>
            <a:off x="3018503" y="394917"/>
            <a:ext cx="5531779" cy="6172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5"/>
              </a:lnSpc>
            </a:pPr>
            <a:r>
              <a:rPr lang="en-US" sz="5392" dirty="0">
                <a:solidFill>
                  <a:srgbClr val="F2705B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EAM</a:t>
            </a:r>
            <a:r>
              <a:rPr lang="en-US" sz="5392" dirty="0">
                <a:solidFill>
                  <a:srgbClr val="FFFFFF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MEMBERS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6102130" y="3855071"/>
            <a:ext cx="119211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HOSSAM S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7406143" y="379727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206995" y="234905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2206995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2206995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2206995" y="527674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0" name="TextBox 60"/>
          <p:cNvSpPr txBox="1"/>
          <p:nvPr/>
        </p:nvSpPr>
        <p:spPr>
          <a:xfrm>
            <a:off x="9417788" y="4018287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8195419" y="420500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62" name="TextBox 62"/>
          <p:cNvSpPr txBox="1"/>
          <p:nvPr/>
        </p:nvSpPr>
        <p:spPr>
          <a:xfrm>
            <a:off x="9483695" y="1996199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63" name="TextBox 63"/>
          <p:cNvSpPr txBox="1"/>
          <p:nvPr/>
        </p:nvSpPr>
        <p:spPr>
          <a:xfrm>
            <a:off x="10637209" y="424643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4" name="TextBox 64"/>
          <p:cNvSpPr txBox="1"/>
          <p:nvPr/>
        </p:nvSpPr>
        <p:spPr>
          <a:xfrm>
            <a:off x="9389734" y="5435141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65" name="Freeform 65"/>
          <p:cNvSpPr/>
          <p:nvPr/>
        </p:nvSpPr>
        <p:spPr>
          <a:xfrm>
            <a:off x="8705036" y="2693676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66" name="Group 66"/>
          <p:cNvGrpSpPr>
            <a:grpSpLocks noChangeAspect="1"/>
          </p:cNvGrpSpPr>
          <p:nvPr/>
        </p:nvGrpSpPr>
        <p:grpSpPr>
          <a:xfrm>
            <a:off x="8744387" y="2738913"/>
            <a:ext cx="343566" cy="343565"/>
            <a:chOff x="0" y="0"/>
            <a:chExt cx="6350000" cy="6349975"/>
          </a:xfrm>
        </p:grpSpPr>
        <p:sp>
          <p:nvSpPr>
            <p:cNvPr id="67" name="Freeform 6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68" name="TextBox 68"/>
          <p:cNvSpPr txBox="1"/>
          <p:nvPr/>
        </p:nvSpPr>
        <p:spPr>
          <a:xfrm>
            <a:off x="8733090" y="278975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69" name="Freeform 69"/>
          <p:cNvSpPr/>
          <p:nvPr/>
        </p:nvSpPr>
        <p:spPr>
          <a:xfrm>
            <a:off x="10320199" y="271598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70" name="Group 70"/>
          <p:cNvGrpSpPr>
            <a:grpSpLocks noChangeAspect="1"/>
          </p:cNvGrpSpPr>
          <p:nvPr/>
        </p:nvGrpSpPr>
        <p:grpSpPr>
          <a:xfrm>
            <a:off x="10359550" y="2761224"/>
            <a:ext cx="343566" cy="343565"/>
            <a:chOff x="0" y="0"/>
            <a:chExt cx="6350000" cy="6349975"/>
          </a:xfrm>
        </p:grpSpPr>
        <p:sp>
          <p:nvSpPr>
            <p:cNvPr id="71" name="Freeform 7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72" name="TextBox 72"/>
          <p:cNvSpPr txBox="1"/>
          <p:nvPr/>
        </p:nvSpPr>
        <p:spPr>
          <a:xfrm>
            <a:off x="10348253" y="281206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sp>
        <p:nvSpPr>
          <p:cNvPr id="73" name="Freeform 73"/>
          <p:cNvSpPr/>
          <p:nvPr/>
        </p:nvSpPr>
        <p:spPr>
          <a:xfrm>
            <a:off x="3184162" y="3235955"/>
            <a:ext cx="1611218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4" name="TextBox 74"/>
          <p:cNvSpPr txBox="1"/>
          <p:nvPr/>
        </p:nvSpPr>
        <p:spPr>
          <a:xfrm>
            <a:off x="3477156" y="3366371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SAYED M.</a:t>
            </a:r>
          </a:p>
        </p:txBody>
      </p:sp>
      <p:sp>
        <p:nvSpPr>
          <p:cNvPr id="75" name="Freeform 75"/>
          <p:cNvSpPr/>
          <p:nvPr/>
        </p:nvSpPr>
        <p:spPr>
          <a:xfrm>
            <a:off x="3184161" y="4206609"/>
            <a:ext cx="1611217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6" name="TextBox 76"/>
          <p:cNvSpPr txBox="1"/>
          <p:nvPr/>
        </p:nvSpPr>
        <p:spPr>
          <a:xfrm>
            <a:off x="3477156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ROBERT K. </a:t>
            </a:r>
          </a:p>
        </p:txBody>
      </p:sp>
      <p:grpSp>
        <p:nvGrpSpPr>
          <p:cNvPr id="77" name="Group 77"/>
          <p:cNvGrpSpPr>
            <a:grpSpLocks noChangeAspect="1"/>
          </p:cNvGrpSpPr>
          <p:nvPr/>
        </p:nvGrpSpPr>
        <p:grpSpPr>
          <a:xfrm>
            <a:off x="2658755" y="4025411"/>
            <a:ext cx="834986" cy="834983"/>
            <a:chOff x="0" y="0"/>
            <a:chExt cx="6350000" cy="6349975"/>
          </a:xfrm>
        </p:grpSpPr>
        <p:sp>
          <p:nvSpPr>
            <p:cNvPr id="78" name="Freeform 78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81" name="Group 81"/>
          <p:cNvGrpSpPr>
            <a:grpSpLocks noChangeAspect="1"/>
          </p:cNvGrpSpPr>
          <p:nvPr/>
        </p:nvGrpSpPr>
        <p:grpSpPr>
          <a:xfrm>
            <a:off x="2647117" y="3062034"/>
            <a:ext cx="834986" cy="834983"/>
            <a:chOff x="0" y="0"/>
            <a:chExt cx="6350000" cy="6349975"/>
          </a:xfrm>
        </p:grpSpPr>
        <p:sp>
          <p:nvSpPr>
            <p:cNvPr id="82" name="Freeform 82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85" name="TextBox 85"/>
          <p:cNvSpPr txBox="1"/>
          <p:nvPr/>
        </p:nvSpPr>
        <p:spPr>
          <a:xfrm>
            <a:off x="4781169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86" name="TextBox 86"/>
          <p:cNvSpPr txBox="1"/>
          <p:nvPr/>
        </p:nvSpPr>
        <p:spPr>
          <a:xfrm>
            <a:off x="4781169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pic>
        <p:nvPicPr>
          <p:cNvPr id="88" name="Picture 87" descr="A person wearing glasses and a button up shirt&#10;&#10;Description automatically generated">
            <a:extLst>
              <a:ext uri="{FF2B5EF4-FFF2-40B4-BE49-F238E27FC236}">
                <a16:creationId xmlns:a16="http://schemas.microsoft.com/office/drawing/2014/main" id="{DBE76D71-D463-C3A8-F3E9-EB5F8E3FA22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842" y="3584379"/>
            <a:ext cx="803029" cy="83498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0" name="Picture 89" descr="A person taking a selfie&#10;&#10;Description automatically generated">
            <a:extLst>
              <a:ext uri="{FF2B5EF4-FFF2-40B4-BE49-F238E27FC236}">
                <a16:creationId xmlns:a16="http://schemas.microsoft.com/office/drawing/2014/main" id="{D80450C6-5801-F3B3-77B8-B19B3D1D228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365" y="3035691"/>
            <a:ext cx="834986" cy="87044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B50AF12-29D1-D6BC-7B5B-06BF27BE385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25" b="9980"/>
          <a:stretch/>
        </p:blipFill>
        <p:spPr>
          <a:xfrm>
            <a:off x="2671075" y="4057284"/>
            <a:ext cx="812063" cy="834982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4" name="Picture 93" descr="A person wearing glasses and a plaid shirt&#10;&#10;Description automatically generated">
            <a:extLst>
              <a:ext uri="{FF2B5EF4-FFF2-40B4-BE49-F238E27FC236}">
                <a16:creationId xmlns:a16="http://schemas.microsoft.com/office/drawing/2014/main" id="{C2710560-5F14-1F69-2443-CE85FC5B25B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" y="5005059"/>
            <a:ext cx="856313" cy="837784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6" name="Picture 95" descr="A person sitting in a chair&#10;&#10;Description automatically generated">
            <a:extLst>
              <a:ext uri="{FF2B5EF4-FFF2-40B4-BE49-F238E27FC236}">
                <a16:creationId xmlns:a16="http://schemas.microsoft.com/office/drawing/2014/main" id="{C968DEB3-CC23-A1AC-7DF6-3F5B842CB05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" y="4022609"/>
            <a:ext cx="829263" cy="865979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8" name="Picture 97" descr="A person in a suit&#10;&#10;Description automatically generated">
            <a:extLst>
              <a:ext uri="{FF2B5EF4-FFF2-40B4-BE49-F238E27FC236}">
                <a16:creationId xmlns:a16="http://schemas.microsoft.com/office/drawing/2014/main" id="{C846AA71-2998-25A4-6394-9EAFD34FD21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" y="3050111"/>
            <a:ext cx="845964" cy="85602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Freeform 69">
            <a:extLst>
              <a:ext uri="{FF2B5EF4-FFF2-40B4-BE49-F238E27FC236}">
                <a16:creationId xmlns:a16="http://schemas.microsoft.com/office/drawing/2014/main" id="{DF3624AA-4BE8-E1D6-1260-0F0A3957BA9C}"/>
              </a:ext>
            </a:extLst>
          </p:cNvPr>
          <p:cNvSpPr/>
          <p:nvPr/>
        </p:nvSpPr>
        <p:spPr>
          <a:xfrm rot="8278285">
            <a:off x="-291982" y="-304004"/>
            <a:ext cx="2013655" cy="2162702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23" name="Group 44">
            <a:extLst>
              <a:ext uri="{FF2B5EF4-FFF2-40B4-BE49-F238E27FC236}">
                <a16:creationId xmlns:a16="http://schemas.microsoft.com/office/drawing/2014/main" id="{A6020E83-A2E4-1B2C-A760-5484D76DDC6A}"/>
              </a:ext>
            </a:extLst>
          </p:cNvPr>
          <p:cNvGrpSpPr>
            <a:grpSpLocks noChangeAspect="1"/>
          </p:cNvGrpSpPr>
          <p:nvPr/>
        </p:nvGrpSpPr>
        <p:grpSpPr>
          <a:xfrm>
            <a:off x="209336" y="239126"/>
            <a:ext cx="1330116" cy="1452171"/>
            <a:chOff x="0" y="0"/>
            <a:chExt cx="6350000" cy="6349975"/>
          </a:xfrm>
        </p:grpSpPr>
        <p:sp>
          <p:nvSpPr>
            <p:cNvPr id="26" name="Freeform 45">
              <a:extLst>
                <a:ext uri="{FF2B5EF4-FFF2-40B4-BE49-F238E27FC236}">
                  <a16:creationId xmlns:a16="http://schemas.microsoft.com/office/drawing/2014/main" id="{66861C43-4F86-EE43-7FD8-B7770653869A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ln/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</p:grpSp>
      <p:pic>
        <p:nvPicPr>
          <p:cNvPr id="22" name="Picture 21" descr="A cartoon character with a black background">
            <a:extLst>
              <a:ext uri="{FF2B5EF4-FFF2-40B4-BE49-F238E27FC236}">
                <a16:creationId xmlns:a16="http://schemas.microsoft.com/office/drawing/2014/main" id="{E5EB87D8-FA2D-002B-526D-F9365734EFD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087" y="-296393"/>
            <a:ext cx="2517829" cy="2566672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4881696D-C85E-2AE6-36EC-1F4DE706470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7" y="2098657"/>
            <a:ext cx="807640" cy="82586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1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0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3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6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8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1" fill="hold">
                      <p:stCondLst>
                        <p:cond delay="indefinite"/>
                      </p:stCondLst>
                      <p:childTnLst>
                        <p:par>
                          <p:cTn id="532" fill="hold">
                            <p:stCondLst>
                              <p:cond delay="0"/>
                            </p:stCondLst>
                            <p:childTnLst>
                              <p:par>
                                <p:cTn id="53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4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4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4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5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6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6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7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7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8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8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8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9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9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9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0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1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1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2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2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3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3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5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5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5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6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6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7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7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7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8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8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9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0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0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0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2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5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5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7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8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9" fill="hold">
                      <p:stCondLst>
                        <p:cond delay="indefinite"/>
                      </p:stCondLst>
                      <p:childTnLst>
                        <p:par>
                          <p:cTn id="790" fill="hold">
                            <p:stCondLst>
                              <p:cond delay="0"/>
                            </p:stCondLst>
                            <p:childTnLst>
                              <p:par>
                                <p:cTn id="79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0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8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33" grpId="0" animBg="1"/>
      <p:bldP spid="34" grpId="0" animBg="1"/>
      <p:bldP spid="35" grpId="0" animBg="1"/>
      <p:bldP spid="36" grpId="0" animBg="1"/>
      <p:bldP spid="37" grpId="0" animBg="1"/>
      <p:bldP spid="52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 animBg="1"/>
      <p:bldP spid="68" grpId="0"/>
      <p:bldP spid="69" grpId="0" animBg="1"/>
      <p:bldP spid="72" grpId="0"/>
      <p:bldP spid="73" grpId="0" animBg="1"/>
      <p:bldP spid="74" grpId="0"/>
      <p:bldP spid="75" grpId="0" animBg="1"/>
      <p:bldP spid="76" grpId="0"/>
      <p:bldP spid="85" grpId="0"/>
      <p:bldP spid="86" grpId="0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DDFB6A7-6065-FF2A-0F55-969CE6673871}"/>
              </a:ext>
            </a:extLst>
          </p:cNvPr>
          <p:cNvSpPr txBox="1"/>
          <p:nvPr/>
        </p:nvSpPr>
        <p:spPr>
          <a:xfrm>
            <a:off x="363793" y="2562425"/>
            <a:ext cx="2861758" cy="16527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lass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3A0F738-EB17-B784-8481-9DFCC244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775" y="390400"/>
            <a:ext cx="7502012" cy="59968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Explosion: 14 Points 1">
            <a:extLst>
              <a:ext uri="{FF2B5EF4-FFF2-40B4-BE49-F238E27FC236}">
                <a16:creationId xmlns:a16="http://schemas.microsoft.com/office/drawing/2014/main" id="{24044617-95F7-CB8D-8AA3-A0CEA4CC9A24}"/>
              </a:ext>
            </a:extLst>
          </p:cNvPr>
          <p:cNvSpPr/>
          <p:nvPr/>
        </p:nvSpPr>
        <p:spPr>
          <a:xfrm rot="1018819">
            <a:off x="85672" y="-63867"/>
            <a:ext cx="2468880" cy="2082973"/>
          </a:xfrm>
          <a:prstGeom prst="irregularSeal2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0F8E737-09F1-98C8-CBE8-80DB1341D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6" y="-104671"/>
            <a:ext cx="2418492" cy="2465407"/>
          </a:xfrm>
          <a:prstGeom prst="rect">
            <a:avLst/>
          </a:prstGeom>
        </p:spPr>
      </p:pic>
      <p:grpSp>
        <p:nvGrpSpPr>
          <p:cNvPr id="3" name="Group 3">
            <a:extLst>
              <a:ext uri="{FF2B5EF4-FFF2-40B4-BE49-F238E27FC236}">
                <a16:creationId xmlns:a16="http://schemas.microsoft.com/office/drawing/2014/main" id="{A0860E04-99C6-7C38-C622-DA4BF82E4C7B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6664124D-194C-123E-1C1A-A537E9F370B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0DEEC8-025D-97F9-9EA9-C2BE3EDCEDC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62156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FD3BC41-CB4C-82FA-719D-1DD2EB418CF0}"/>
              </a:ext>
            </a:extLst>
          </p:cNvPr>
          <p:cNvSpPr txBox="1"/>
          <p:nvPr/>
        </p:nvSpPr>
        <p:spPr>
          <a:xfrm>
            <a:off x="228861" y="2804303"/>
            <a:ext cx="3221374" cy="12493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ta flow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Picture 8" descr="A diagram of a work flow&#10;&#10;Description automatically generated">
            <a:extLst>
              <a:ext uri="{FF2B5EF4-FFF2-40B4-BE49-F238E27FC236}">
                <a16:creationId xmlns:a16="http://schemas.microsoft.com/office/drawing/2014/main" id="{55889D9D-2B41-BB97-2A07-F9B776975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051" b="-689"/>
          <a:stretch/>
        </p:blipFill>
        <p:spPr>
          <a:xfrm>
            <a:off x="4651982" y="313006"/>
            <a:ext cx="7311157" cy="606602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1" name="Wave 10">
            <a:extLst>
              <a:ext uri="{FF2B5EF4-FFF2-40B4-BE49-F238E27FC236}">
                <a16:creationId xmlns:a16="http://schemas.microsoft.com/office/drawing/2014/main" id="{363757A2-E324-1445-F916-82EB6ED93CA1}"/>
              </a:ext>
            </a:extLst>
          </p:cNvPr>
          <p:cNvSpPr/>
          <p:nvPr/>
        </p:nvSpPr>
        <p:spPr>
          <a:xfrm>
            <a:off x="35186" y="30081"/>
            <a:ext cx="2329469" cy="1881772"/>
          </a:xfrm>
          <a:prstGeom prst="wave">
            <a:avLst>
              <a:gd name="adj1" fmla="val 12500"/>
              <a:gd name="adj2" fmla="val -1308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B0EF8273-2CB1-7F5F-C8DC-4350A725F6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38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BB390361-209D-F37D-98A2-E0A00B07EB3E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4BF98960-1CE7-1899-74C2-B77E9DFE698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BD8B17C-9BA9-7DA0-4214-181CBC969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151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-170904" y="3167985"/>
            <a:ext cx="4039436" cy="10509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rchitecture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grpSp>
        <p:nvGrpSpPr>
          <p:cNvPr id="6" name="Group 3">
            <a:extLst>
              <a:ext uri="{FF2B5EF4-FFF2-40B4-BE49-F238E27FC236}">
                <a16:creationId xmlns:a16="http://schemas.microsoft.com/office/drawing/2014/main" id="{9C6F6940-C459-973A-22CC-440AF0770D0A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7D0D825B-24F0-E240-C48A-0FBF1347E84C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CD1D413-1452-B979-5222-BAD16A1170D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pic>
        <p:nvPicPr>
          <p:cNvPr id="10" name="Picture 9" descr="A diagram of a skill-based system&#10;&#10;Description automatically generated with medium confidence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2899" y="399342"/>
            <a:ext cx="7725629" cy="588087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127531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07E1D1A-562F-85D2-4D47-F5FF4EB2E605}"/>
              </a:ext>
            </a:extLst>
          </p:cNvPr>
          <p:cNvSpPr txBox="1"/>
          <p:nvPr/>
        </p:nvSpPr>
        <p:spPr>
          <a:xfrm>
            <a:off x="115544" y="2887442"/>
            <a:ext cx="2748552" cy="12712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RD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Picture 9" descr="A diagram of a company&#10;&#10;Description automatically generated">
            <a:extLst>
              <a:ext uri="{FF2B5EF4-FFF2-40B4-BE49-F238E27FC236}">
                <a16:creationId xmlns:a16="http://schemas.microsoft.com/office/drawing/2014/main" id="{D5128610-A033-B761-0434-7ADDC412F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5984" y="398622"/>
            <a:ext cx="7439759" cy="59341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4" name="Star: 7 Points 3">
            <a:extLst>
              <a:ext uri="{FF2B5EF4-FFF2-40B4-BE49-F238E27FC236}">
                <a16:creationId xmlns:a16="http://schemas.microsoft.com/office/drawing/2014/main" id="{417EABE1-04ED-9BB7-6F87-5EEEF212FA8F}"/>
              </a:ext>
            </a:extLst>
          </p:cNvPr>
          <p:cNvSpPr/>
          <p:nvPr/>
        </p:nvSpPr>
        <p:spPr>
          <a:xfrm>
            <a:off x="24301" y="72235"/>
            <a:ext cx="2028019" cy="1906587"/>
          </a:xfrm>
          <a:prstGeom prst="star7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E14A877-63A9-BEBB-0D12-1AD0501A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" y="-1667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08BEAF47-BA43-11F5-637D-23D39EC39E09}"/>
              </a:ext>
            </a:extLst>
          </p:cNvPr>
          <p:cNvGrpSpPr/>
          <p:nvPr/>
        </p:nvGrpSpPr>
        <p:grpSpPr>
          <a:xfrm>
            <a:off x="107613" y="4163592"/>
            <a:ext cx="288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9EE79FB-9455-0E85-C3FC-8A04B749F96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CCEA918-DDB4-7FE4-78E7-4ED07C1AEDA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5157672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35000">
              <a:schemeClr val="bg1"/>
            </a:gs>
            <a:gs pos="100000">
              <a:schemeClr val="accent2">
                <a:lumMod val="40000"/>
                <a:lumOff val="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 2">
            <a:extLst>
              <a:ext uri="{FF2B5EF4-FFF2-40B4-BE49-F238E27FC236}">
                <a16:creationId xmlns:a16="http://schemas.microsoft.com/office/drawing/2014/main" id="{B074D5EB-2818-651C-1FA3-E20922CF1D13}"/>
              </a:ext>
            </a:extLst>
          </p:cNvPr>
          <p:cNvSpPr/>
          <p:nvPr/>
        </p:nvSpPr>
        <p:spPr>
          <a:xfrm rot="175869" flipH="1">
            <a:off x="687923" y="4555488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form 2">
            <a:extLst>
              <a:ext uri="{FF2B5EF4-FFF2-40B4-BE49-F238E27FC236}">
                <a16:creationId xmlns:a16="http://schemas.microsoft.com/office/drawing/2014/main" id="{D6F75A81-6115-2CE0-802D-B3D4F1B740FC}"/>
              </a:ext>
            </a:extLst>
          </p:cNvPr>
          <p:cNvSpPr/>
          <p:nvPr/>
        </p:nvSpPr>
        <p:spPr>
          <a:xfrm rot="175869" flipH="1">
            <a:off x="660913" y="539216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form 2">
            <a:extLst>
              <a:ext uri="{FF2B5EF4-FFF2-40B4-BE49-F238E27FC236}">
                <a16:creationId xmlns:a16="http://schemas.microsoft.com/office/drawing/2014/main" id="{84739680-C779-8E41-A507-4BE0C5367D47}"/>
              </a:ext>
            </a:extLst>
          </p:cNvPr>
          <p:cNvSpPr/>
          <p:nvPr/>
        </p:nvSpPr>
        <p:spPr>
          <a:xfrm rot="175869" flipH="1">
            <a:off x="724478" y="62553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form 2">
            <a:extLst>
              <a:ext uri="{FF2B5EF4-FFF2-40B4-BE49-F238E27FC236}">
                <a16:creationId xmlns:a16="http://schemas.microsoft.com/office/drawing/2014/main" id="{8C0427A0-F28E-60B5-9656-0B35434D9AF3}"/>
              </a:ext>
            </a:extLst>
          </p:cNvPr>
          <p:cNvSpPr/>
          <p:nvPr/>
        </p:nvSpPr>
        <p:spPr>
          <a:xfrm rot="175869" flipH="1">
            <a:off x="4833203" y="400982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form 2">
            <a:extLst>
              <a:ext uri="{FF2B5EF4-FFF2-40B4-BE49-F238E27FC236}">
                <a16:creationId xmlns:a16="http://schemas.microsoft.com/office/drawing/2014/main" id="{91EDB945-30D3-253C-C98F-CE7A3B9C1539}"/>
              </a:ext>
            </a:extLst>
          </p:cNvPr>
          <p:cNvSpPr/>
          <p:nvPr/>
        </p:nvSpPr>
        <p:spPr>
          <a:xfrm rot="175869" flipH="1">
            <a:off x="4862804" y="50156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form 2">
            <a:extLst>
              <a:ext uri="{FF2B5EF4-FFF2-40B4-BE49-F238E27FC236}">
                <a16:creationId xmlns:a16="http://schemas.microsoft.com/office/drawing/2014/main" id="{36293D2E-5779-34BB-DEDD-A4BFE9C3543C}"/>
              </a:ext>
            </a:extLst>
          </p:cNvPr>
          <p:cNvSpPr/>
          <p:nvPr/>
        </p:nvSpPr>
        <p:spPr>
          <a:xfrm rot="175869" flipH="1">
            <a:off x="4844113" y="603424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form 2">
            <a:extLst>
              <a:ext uri="{FF2B5EF4-FFF2-40B4-BE49-F238E27FC236}">
                <a16:creationId xmlns:a16="http://schemas.microsoft.com/office/drawing/2014/main" id="{20074B75-4D49-0576-126B-9E6E006C97DC}"/>
              </a:ext>
            </a:extLst>
          </p:cNvPr>
          <p:cNvSpPr/>
          <p:nvPr/>
        </p:nvSpPr>
        <p:spPr>
          <a:xfrm rot="175869" flipH="1">
            <a:off x="9562739" y="438333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form 2">
            <a:extLst>
              <a:ext uri="{FF2B5EF4-FFF2-40B4-BE49-F238E27FC236}">
                <a16:creationId xmlns:a16="http://schemas.microsoft.com/office/drawing/2014/main" id="{9CECB07F-5058-CF27-C1C4-49FEA393AAC4}"/>
              </a:ext>
            </a:extLst>
          </p:cNvPr>
          <p:cNvSpPr/>
          <p:nvPr/>
        </p:nvSpPr>
        <p:spPr>
          <a:xfrm rot="175869" flipH="1">
            <a:off x="9609501" y="5524012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form 2">
            <a:extLst>
              <a:ext uri="{FF2B5EF4-FFF2-40B4-BE49-F238E27FC236}">
                <a16:creationId xmlns:a16="http://schemas.microsoft.com/office/drawing/2014/main" id="{DE7E0AD8-3507-9C8E-8B6A-5AEB03EC2535}"/>
              </a:ext>
            </a:extLst>
          </p:cNvPr>
          <p:cNvSpPr/>
          <p:nvPr/>
        </p:nvSpPr>
        <p:spPr>
          <a:xfrm rot="175869" flipH="1">
            <a:off x="680049" y="3729327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 2">
            <a:extLst>
              <a:ext uri="{FF2B5EF4-FFF2-40B4-BE49-F238E27FC236}">
                <a16:creationId xmlns:a16="http://schemas.microsoft.com/office/drawing/2014/main" id="{95A1ED16-6D02-FE93-82A7-CFB4E4276CC4}"/>
              </a:ext>
            </a:extLst>
          </p:cNvPr>
          <p:cNvSpPr/>
          <p:nvPr/>
        </p:nvSpPr>
        <p:spPr>
          <a:xfrm rot="16200000" flipH="1">
            <a:off x="8049066" y="4004565"/>
            <a:ext cx="3136655" cy="98676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form 2">
            <a:extLst>
              <a:ext uri="{FF2B5EF4-FFF2-40B4-BE49-F238E27FC236}">
                <a16:creationId xmlns:a16="http://schemas.microsoft.com/office/drawing/2014/main" id="{9C9BAAD2-D86D-386D-108A-3F6FDF9468A9}"/>
              </a:ext>
            </a:extLst>
          </p:cNvPr>
          <p:cNvSpPr/>
          <p:nvPr/>
        </p:nvSpPr>
        <p:spPr>
          <a:xfrm rot="16200000" flipH="1">
            <a:off x="3012745" y="4257087"/>
            <a:ext cx="3685682" cy="9602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 2">
            <a:extLst>
              <a:ext uri="{FF2B5EF4-FFF2-40B4-BE49-F238E27FC236}">
                <a16:creationId xmlns:a16="http://schemas.microsoft.com/office/drawing/2014/main" id="{84A335C3-689F-8A5C-199B-22D010E7F022}"/>
              </a:ext>
            </a:extLst>
          </p:cNvPr>
          <p:cNvSpPr/>
          <p:nvPr/>
        </p:nvSpPr>
        <p:spPr>
          <a:xfrm rot="16200000" flipH="1">
            <a:off x="-1283957" y="4361634"/>
            <a:ext cx="3920194" cy="12143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form 2">
            <a:extLst>
              <a:ext uri="{FF2B5EF4-FFF2-40B4-BE49-F238E27FC236}">
                <a16:creationId xmlns:a16="http://schemas.microsoft.com/office/drawing/2014/main" id="{0D29E748-0225-F169-C775-B60E82C079FB}"/>
              </a:ext>
            </a:extLst>
          </p:cNvPr>
          <p:cNvSpPr/>
          <p:nvPr/>
        </p:nvSpPr>
        <p:spPr>
          <a:xfrm rot="16200000" flipH="1">
            <a:off x="9987026" y="199356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form 2">
            <a:extLst>
              <a:ext uri="{FF2B5EF4-FFF2-40B4-BE49-F238E27FC236}">
                <a16:creationId xmlns:a16="http://schemas.microsoft.com/office/drawing/2014/main" id="{622C3D79-956C-DAB5-9F37-AE274C74AC74}"/>
              </a:ext>
            </a:extLst>
          </p:cNvPr>
          <p:cNvSpPr/>
          <p:nvPr/>
        </p:nvSpPr>
        <p:spPr>
          <a:xfrm rot="16200000" flipH="1">
            <a:off x="5220615" y="2040843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form 2">
            <a:extLst>
              <a:ext uri="{FF2B5EF4-FFF2-40B4-BE49-F238E27FC236}">
                <a16:creationId xmlns:a16="http://schemas.microsoft.com/office/drawing/2014/main" id="{CF89AF86-7BA1-3A87-295B-CAB86385BADC}"/>
              </a:ext>
            </a:extLst>
          </p:cNvPr>
          <p:cNvSpPr/>
          <p:nvPr/>
        </p:nvSpPr>
        <p:spPr>
          <a:xfrm rot="16200000" flipH="1">
            <a:off x="956618" y="194550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99000B68-E306-3D0A-F76D-355CA3913057}"/>
              </a:ext>
            </a:extLst>
          </p:cNvPr>
          <p:cNvSpPr/>
          <p:nvPr/>
        </p:nvSpPr>
        <p:spPr>
          <a:xfrm rot="16200000" flipH="1">
            <a:off x="5517434" y="1305074"/>
            <a:ext cx="378440" cy="19129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8A91F65D-26D0-211B-BD73-1DA9B994A1F8}"/>
              </a:ext>
            </a:extLst>
          </p:cNvPr>
          <p:cNvSpPr/>
          <p:nvPr/>
        </p:nvSpPr>
        <p:spPr>
          <a:xfrm>
            <a:off x="4066610" y="67971"/>
            <a:ext cx="3185652" cy="1231488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9AB86A33-33F8-AA19-C0EC-B45FFFA021C3}"/>
              </a:ext>
            </a:extLst>
          </p:cNvPr>
          <p:cNvSpPr/>
          <p:nvPr/>
        </p:nvSpPr>
        <p:spPr>
          <a:xfrm>
            <a:off x="4202451" y="166966"/>
            <a:ext cx="2928114" cy="1084763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843A40-206A-875B-A29C-EFCCA68317B5}"/>
              </a:ext>
            </a:extLst>
          </p:cNvPr>
          <p:cNvSpPr txBox="1"/>
          <p:nvPr/>
        </p:nvSpPr>
        <p:spPr>
          <a:xfrm>
            <a:off x="4202451" y="490145"/>
            <a:ext cx="3185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HRBOTIX SITE MAP</a:t>
            </a:r>
          </a:p>
        </p:txBody>
      </p:sp>
      <p:sp>
        <p:nvSpPr>
          <p:cNvPr id="26" name="Freeform 2">
            <a:extLst>
              <a:ext uri="{FF2B5EF4-FFF2-40B4-BE49-F238E27FC236}">
                <a16:creationId xmlns:a16="http://schemas.microsoft.com/office/drawing/2014/main" id="{ADD04FA4-2B2A-AFED-D484-73662CCFE418}"/>
              </a:ext>
            </a:extLst>
          </p:cNvPr>
          <p:cNvSpPr/>
          <p:nvPr/>
        </p:nvSpPr>
        <p:spPr>
          <a:xfrm flipH="1">
            <a:off x="1350495" y="1475569"/>
            <a:ext cx="9218216" cy="147251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90A5EF53-134D-BC6B-E6BC-E36B764FB03C}"/>
              </a:ext>
            </a:extLst>
          </p:cNvPr>
          <p:cNvSpPr/>
          <p:nvPr/>
        </p:nvSpPr>
        <p:spPr>
          <a:xfrm>
            <a:off x="584130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FFA4ABB2-9C67-D152-C16D-70485754C778}"/>
              </a:ext>
            </a:extLst>
          </p:cNvPr>
          <p:cNvSpPr/>
          <p:nvPr/>
        </p:nvSpPr>
        <p:spPr>
          <a:xfrm>
            <a:off x="707438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3FF69-2DBA-97DF-349D-126BF4C8A783}"/>
              </a:ext>
            </a:extLst>
          </p:cNvPr>
          <p:cNvSpPr txBox="1"/>
          <p:nvPr/>
        </p:nvSpPr>
        <p:spPr>
          <a:xfrm>
            <a:off x="709343" y="2231027"/>
            <a:ext cx="1591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CFB99613-A65F-37D4-B57D-EB2A90C8A1CC}"/>
              </a:ext>
            </a:extLst>
          </p:cNvPr>
          <p:cNvSpPr/>
          <p:nvPr/>
        </p:nvSpPr>
        <p:spPr>
          <a:xfrm>
            <a:off x="1019021" y="4264325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form 12">
            <a:extLst>
              <a:ext uri="{FF2B5EF4-FFF2-40B4-BE49-F238E27FC236}">
                <a16:creationId xmlns:a16="http://schemas.microsoft.com/office/drawing/2014/main" id="{E4CDF977-9A44-B04A-AB2C-928293AD177A}"/>
              </a:ext>
            </a:extLst>
          </p:cNvPr>
          <p:cNvSpPr/>
          <p:nvPr/>
        </p:nvSpPr>
        <p:spPr>
          <a:xfrm>
            <a:off x="1106690" y="4337511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A1EA4-C9F8-0F83-F11E-A83167C4B497}"/>
              </a:ext>
            </a:extLst>
          </p:cNvPr>
          <p:cNvSpPr txBox="1"/>
          <p:nvPr/>
        </p:nvSpPr>
        <p:spPr>
          <a:xfrm>
            <a:off x="1080169" y="4499296"/>
            <a:ext cx="1260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39" name="Freeform 6">
            <a:extLst>
              <a:ext uri="{FF2B5EF4-FFF2-40B4-BE49-F238E27FC236}">
                <a16:creationId xmlns:a16="http://schemas.microsoft.com/office/drawing/2014/main" id="{8D4C48EE-1B5B-1CF9-A83B-D24E567F5674}"/>
              </a:ext>
            </a:extLst>
          </p:cNvPr>
          <p:cNvSpPr/>
          <p:nvPr/>
        </p:nvSpPr>
        <p:spPr>
          <a:xfrm>
            <a:off x="1019021" y="5099174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D64E868-6311-7387-9625-A51DF63D8756}"/>
              </a:ext>
            </a:extLst>
          </p:cNvPr>
          <p:cNvSpPr/>
          <p:nvPr/>
        </p:nvSpPr>
        <p:spPr>
          <a:xfrm>
            <a:off x="1106690" y="5143776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8FE927-5025-D2E6-27F8-9DD6CA1AAF02}"/>
              </a:ext>
            </a:extLst>
          </p:cNvPr>
          <p:cNvSpPr txBox="1"/>
          <p:nvPr/>
        </p:nvSpPr>
        <p:spPr>
          <a:xfrm>
            <a:off x="1067219" y="5318956"/>
            <a:ext cx="1320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8CD4D8EE-20AB-ABEA-9F98-9EA8C31B99D1}"/>
              </a:ext>
            </a:extLst>
          </p:cNvPr>
          <p:cNvSpPr/>
          <p:nvPr/>
        </p:nvSpPr>
        <p:spPr>
          <a:xfrm>
            <a:off x="1062856" y="5963436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form 12">
            <a:extLst>
              <a:ext uri="{FF2B5EF4-FFF2-40B4-BE49-F238E27FC236}">
                <a16:creationId xmlns:a16="http://schemas.microsoft.com/office/drawing/2014/main" id="{531B9C1D-2376-2291-73E3-F50D264D89DF}"/>
              </a:ext>
            </a:extLst>
          </p:cNvPr>
          <p:cNvSpPr/>
          <p:nvPr/>
        </p:nvSpPr>
        <p:spPr>
          <a:xfrm>
            <a:off x="1150525" y="6008038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FAFC53-8865-225A-AA5D-DD963454D74A}"/>
              </a:ext>
            </a:extLst>
          </p:cNvPr>
          <p:cNvSpPr txBox="1"/>
          <p:nvPr/>
        </p:nvSpPr>
        <p:spPr>
          <a:xfrm>
            <a:off x="1106691" y="6184301"/>
            <a:ext cx="1353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ing </a:t>
            </a: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588594D8-653D-D8A5-AF9C-01400C74B6D5}"/>
              </a:ext>
            </a:extLst>
          </p:cNvPr>
          <p:cNvSpPr/>
          <p:nvPr/>
        </p:nvSpPr>
        <p:spPr>
          <a:xfrm>
            <a:off x="975186" y="3432802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form 12">
            <a:extLst>
              <a:ext uri="{FF2B5EF4-FFF2-40B4-BE49-F238E27FC236}">
                <a16:creationId xmlns:a16="http://schemas.microsoft.com/office/drawing/2014/main" id="{50EA6FA7-C7F2-BC8D-573C-FA8A4DF23AB7}"/>
              </a:ext>
            </a:extLst>
          </p:cNvPr>
          <p:cNvSpPr/>
          <p:nvPr/>
        </p:nvSpPr>
        <p:spPr>
          <a:xfrm>
            <a:off x="1062855" y="3477404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81D6AB-08DF-4667-B9E3-D0D8A71F30D9}"/>
              </a:ext>
            </a:extLst>
          </p:cNvPr>
          <p:cNvSpPr txBox="1"/>
          <p:nvPr/>
        </p:nvSpPr>
        <p:spPr>
          <a:xfrm>
            <a:off x="1142100" y="3617304"/>
            <a:ext cx="11911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8" name="Freeform 6">
            <a:extLst>
              <a:ext uri="{FF2B5EF4-FFF2-40B4-BE49-F238E27FC236}">
                <a16:creationId xmlns:a16="http://schemas.microsoft.com/office/drawing/2014/main" id="{D2B4D73E-9982-8FEE-D5BF-645E0788E64D}"/>
              </a:ext>
            </a:extLst>
          </p:cNvPr>
          <p:cNvSpPr/>
          <p:nvPr/>
        </p:nvSpPr>
        <p:spPr>
          <a:xfrm>
            <a:off x="4797677" y="1913304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5102BACC-537F-EBB6-426D-1505ACE02DF5}"/>
              </a:ext>
            </a:extLst>
          </p:cNvPr>
          <p:cNvSpPr/>
          <p:nvPr/>
        </p:nvSpPr>
        <p:spPr>
          <a:xfrm>
            <a:off x="4920985" y="2008617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AD18A2-79E9-FCCA-FF49-661291AB45C8}"/>
              </a:ext>
            </a:extLst>
          </p:cNvPr>
          <p:cNvSpPr txBox="1"/>
          <p:nvPr/>
        </p:nvSpPr>
        <p:spPr>
          <a:xfrm>
            <a:off x="4829349" y="2389591"/>
            <a:ext cx="18437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sp>
        <p:nvSpPr>
          <p:cNvPr id="51" name="Freeform 6">
            <a:extLst>
              <a:ext uri="{FF2B5EF4-FFF2-40B4-BE49-F238E27FC236}">
                <a16:creationId xmlns:a16="http://schemas.microsoft.com/office/drawing/2014/main" id="{33B3CB53-ABCC-A3D5-1779-883E8FB06856}"/>
              </a:ext>
            </a:extLst>
          </p:cNvPr>
          <p:cNvSpPr/>
          <p:nvPr/>
        </p:nvSpPr>
        <p:spPr>
          <a:xfrm>
            <a:off x="9560813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 12">
            <a:extLst>
              <a:ext uri="{FF2B5EF4-FFF2-40B4-BE49-F238E27FC236}">
                <a16:creationId xmlns:a16="http://schemas.microsoft.com/office/drawing/2014/main" id="{1C6559C8-CD39-F1F0-269F-FB6E8A9FD0AE}"/>
              </a:ext>
            </a:extLst>
          </p:cNvPr>
          <p:cNvSpPr/>
          <p:nvPr/>
        </p:nvSpPr>
        <p:spPr>
          <a:xfrm>
            <a:off x="9684121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1F6521-8E1F-50DA-6656-2F21536F9BC7}"/>
              </a:ext>
            </a:extLst>
          </p:cNvPr>
          <p:cNvSpPr txBox="1"/>
          <p:nvPr/>
        </p:nvSpPr>
        <p:spPr>
          <a:xfrm>
            <a:off x="9649192" y="2226117"/>
            <a:ext cx="17644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en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4" name="Freeform 6">
            <a:extLst>
              <a:ext uri="{FF2B5EF4-FFF2-40B4-BE49-F238E27FC236}">
                <a16:creationId xmlns:a16="http://schemas.microsoft.com/office/drawing/2014/main" id="{B5777A2D-8507-8B51-B5F5-8A8B321F8CFE}"/>
              </a:ext>
            </a:extLst>
          </p:cNvPr>
          <p:cNvSpPr/>
          <p:nvPr/>
        </p:nvSpPr>
        <p:spPr>
          <a:xfrm>
            <a:off x="5245611" y="3719825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form 12">
            <a:extLst>
              <a:ext uri="{FF2B5EF4-FFF2-40B4-BE49-F238E27FC236}">
                <a16:creationId xmlns:a16="http://schemas.microsoft.com/office/drawing/2014/main" id="{963C60A6-3B9E-D2AE-D233-3CA4E5430BB9}"/>
              </a:ext>
            </a:extLst>
          </p:cNvPr>
          <p:cNvSpPr/>
          <p:nvPr/>
        </p:nvSpPr>
        <p:spPr>
          <a:xfrm>
            <a:off x="5333281" y="3764427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10577E-8DE6-2649-F667-A6C27602CCAB}"/>
              </a:ext>
            </a:extLst>
          </p:cNvPr>
          <p:cNvSpPr txBox="1"/>
          <p:nvPr/>
        </p:nvSpPr>
        <p:spPr>
          <a:xfrm>
            <a:off x="5204777" y="3738297"/>
            <a:ext cx="1385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Matching </a:t>
            </a: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7CEABE45-14D3-5FDA-909A-52302CA4E3DB}"/>
              </a:ext>
            </a:extLst>
          </p:cNvPr>
          <p:cNvSpPr/>
          <p:nvPr/>
        </p:nvSpPr>
        <p:spPr>
          <a:xfrm>
            <a:off x="5265107" y="4720828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 12">
            <a:extLst>
              <a:ext uri="{FF2B5EF4-FFF2-40B4-BE49-F238E27FC236}">
                <a16:creationId xmlns:a16="http://schemas.microsoft.com/office/drawing/2014/main" id="{D75842AA-7BE9-2E52-1E6A-246FB8E8B277}"/>
              </a:ext>
            </a:extLst>
          </p:cNvPr>
          <p:cNvSpPr/>
          <p:nvPr/>
        </p:nvSpPr>
        <p:spPr>
          <a:xfrm>
            <a:off x="5352777" y="4765430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D38A397-B06D-9DC1-68FA-47AC5499AC93}"/>
              </a:ext>
            </a:extLst>
          </p:cNvPr>
          <p:cNvSpPr txBox="1"/>
          <p:nvPr/>
        </p:nvSpPr>
        <p:spPr>
          <a:xfrm>
            <a:off x="5334907" y="4789374"/>
            <a:ext cx="12088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66" name="Freeform 6">
            <a:extLst>
              <a:ext uri="{FF2B5EF4-FFF2-40B4-BE49-F238E27FC236}">
                <a16:creationId xmlns:a16="http://schemas.microsoft.com/office/drawing/2014/main" id="{9AD841D9-4018-5BBC-6800-A4B9C50750FE}"/>
              </a:ext>
            </a:extLst>
          </p:cNvPr>
          <p:cNvSpPr/>
          <p:nvPr/>
        </p:nvSpPr>
        <p:spPr>
          <a:xfrm>
            <a:off x="10015732" y="4092302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AFCC998E-1A82-C4AB-D15F-7E1547E62426}"/>
              </a:ext>
            </a:extLst>
          </p:cNvPr>
          <p:cNvSpPr/>
          <p:nvPr/>
        </p:nvSpPr>
        <p:spPr>
          <a:xfrm>
            <a:off x="10103402" y="4136904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2B2AB22-3029-9E1E-3638-1345E524B5DF}"/>
              </a:ext>
            </a:extLst>
          </p:cNvPr>
          <p:cNvSpPr txBox="1"/>
          <p:nvPr/>
        </p:nvSpPr>
        <p:spPr>
          <a:xfrm>
            <a:off x="9900643" y="4099186"/>
            <a:ext cx="17017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an employment request</a:t>
            </a:r>
          </a:p>
        </p:txBody>
      </p:sp>
      <p:sp>
        <p:nvSpPr>
          <p:cNvPr id="69" name="Freeform 6">
            <a:extLst>
              <a:ext uri="{FF2B5EF4-FFF2-40B4-BE49-F238E27FC236}">
                <a16:creationId xmlns:a16="http://schemas.microsoft.com/office/drawing/2014/main" id="{AA3DC8A5-B412-2166-98C2-562C39FE04F5}"/>
              </a:ext>
            </a:extLst>
          </p:cNvPr>
          <p:cNvSpPr/>
          <p:nvPr/>
        </p:nvSpPr>
        <p:spPr>
          <a:xfrm>
            <a:off x="10014689" y="5235149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form 12">
            <a:extLst>
              <a:ext uri="{FF2B5EF4-FFF2-40B4-BE49-F238E27FC236}">
                <a16:creationId xmlns:a16="http://schemas.microsoft.com/office/drawing/2014/main" id="{C38B401D-C2B9-DE28-609F-F696BA6DDFDC}"/>
              </a:ext>
            </a:extLst>
          </p:cNvPr>
          <p:cNvSpPr/>
          <p:nvPr/>
        </p:nvSpPr>
        <p:spPr>
          <a:xfrm>
            <a:off x="10102359" y="5279751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form 6">
            <a:extLst>
              <a:ext uri="{FF2B5EF4-FFF2-40B4-BE49-F238E27FC236}">
                <a16:creationId xmlns:a16="http://schemas.microsoft.com/office/drawing/2014/main" id="{7C3BE49D-0D21-1627-DD57-EEE6B7AF0DDA}"/>
              </a:ext>
            </a:extLst>
          </p:cNvPr>
          <p:cNvSpPr/>
          <p:nvPr/>
        </p:nvSpPr>
        <p:spPr>
          <a:xfrm>
            <a:off x="5245611" y="5733600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form 12">
            <a:extLst>
              <a:ext uri="{FF2B5EF4-FFF2-40B4-BE49-F238E27FC236}">
                <a16:creationId xmlns:a16="http://schemas.microsoft.com/office/drawing/2014/main" id="{E658B2D6-8261-E2D6-6247-B9CDA2726E40}"/>
              </a:ext>
            </a:extLst>
          </p:cNvPr>
          <p:cNvSpPr/>
          <p:nvPr/>
        </p:nvSpPr>
        <p:spPr>
          <a:xfrm>
            <a:off x="5333281" y="5778202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012E561-0498-88F2-7F8A-988B1F8D808F}"/>
              </a:ext>
            </a:extLst>
          </p:cNvPr>
          <p:cNvSpPr txBox="1"/>
          <p:nvPr/>
        </p:nvSpPr>
        <p:spPr>
          <a:xfrm>
            <a:off x="5339644" y="5952896"/>
            <a:ext cx="1205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0C1AF0A-B431-A329-1D54-3608D5A10330}"/>
              </a:ext>
            </a:extLst>
          </p:cNvPr>
          <p:cNvSpPr txBox="1"/>
          <p:nvPr/>
        </p:nvSpPr>
        <p:spPr>
          <a:xfrm>
            <a:off x="10072881" y="5316875"/>
            <a:ext cx="1357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2" name="دبوس زينة 1">
            <a:extLst>
              <a:ext uri="{FF2B5EF4-FFF2-40B4-BE49-F238E27FC236}">
                <a16:creationId xmlns:a16="http://schemas.microsoft.com/office/drawing/2014/main" id="{5EA6A717-97CD-7001-677A-9235CDD6C8DB}"/>
              </a:ext>
            </a:extLst>
          </p:cNvPr>
          <p:cNvSpPr/>
          <p:nvPr/>
        </p:nvSpPr>
        <p:spPr>
          <a:xfrm>
            <a:off x="313899" y="166966"/>
            <a:ext cx="1224404" cy="1156977"/>
          </a:xfrm>
          <a:prstGeom prst="plaqu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3C453E2-500B-2615-8EBF-D185F2FA63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6" y="-371483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377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2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7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9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4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81" grpId="0" animBg="1"/>
      <p:bldP spid="80" grpId="0" animBg="1"/>
      <p:bldP spid="79" grpId="0" animBg="1"/>
      <p:bldP spid="78" grpId="0" animBg="1"/>
      <p:bldP spid="77" grpId="0" animBg="1"/>
      <p:bldP spid="76" grpId="0" animBg="1"/>
      <p:bldP spid="75" grpId="0" animBg="1"/>
      <p:bldP spid="4" grpId="0" animBg="1"/>
      <p:bldP spid="8" grpId="0" animBg="1"/>
      <p:bldP spid="14" grpId="0" animBg="1"/>
      <p:bldP spid="25" grpId="0"/>
      <p:bldP spid="26" grpId="0" animBg="1"/>
      <p:bldP spid="27" grpId="0" animBg="1"/>
      <p:bldP spid="28" grpId="0" animBg="1"/>
      <p:bldP spid="29" grpId="0"/>
      <p:bldP spid="36" grpId="0" animBg="1"/>
      <p:bldP spid="37" grpId="0" animBg="1"/>
      <p:bldP spid="38" grpId="0"/>
      <p:bldP spid="39" grpId="0" animBg="1"/>
      <p:bldP spid="40" grpId="0" animBg="1"/>
      <p:bldP spid="41" grpId="0"/>
      <p:bldP spid="42" grpId="0" animBg="1"/>
      <p:bldP spid="43" grpId="0" animBg="1"/>
      <p:bldP spid="44" grpId="0"/>
      <p:bldP spid="45" grpId="0" animBg="1"/>
      <p:bldP spid="46" grpId="0" animBg="1"/>
      <p:bldP spid="47" grpId="0"/>
      <p:bldP spid="48" grpId="0" animBg="1"/>
      <p:bldP spid="49" grpId="0" animBg="1"/>
      <p:bldP spid="50" grpId="0"/>
      <p:bldP spid="51" grpId="0" animBg="1"/>
      <p:bldP spid="52" grpId="0" animBg="1"/>
      <p:bldP spid="53" grpId="0"/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6" grpId="0" animBg="1"/>
      <p:bldP spid="67" grpId="0" animBg="1"/>
      <p:bldP spid="68" grpId="0"/>
      <p:bldP spid="69" grpId="0" animBg="1"/>
      <p:bldP spid="70" grpId="0" animBg="1"/>
      <p:bldP spid="72" grpId="0" animBg="1"/>
      <p:bldP spid="73" grpId="0" animBg="1"/>
      <p:bldP spid="90" grpId="0"/>
      <p:bldP spid="9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751377" y="2546980"/>
            <a:ext cx="10686197" cy="2315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80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implementation </a:t>
            </a:r>
            <a:endParaRPr lang="en-US" sz="80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031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EB06B9-1497-6B70-6589-BEE82709A737}"/>
              </a:ext>
            </a:extLst>
          </p:cNvPr>
          <p:cNvGrpSpPr/>
          <p:nvPr/>
        </p:nvGrpSpPr>
        <p:grpSpPr>
          <a:xfrm>
            <a:off x="0" y="4163591"/>
            <a:ext cx="2920181" cy="113441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A88D120-035A-F628-16EE-3BA92164E2A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D270D6-0C18-CB5A-68B1-76C9AB19E17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21">
            <a:extLst>
              <a:ext uri="{FF2B5EF4-FFF2-40B4-BE49-F238E27FC236}">
                <a16:creationId xmlns:a16="http://schemas.microsoft.com/office/drawing/2014/main" id="{CD9F8E73-224F-32C3-11F0-4BEE565C8307}"/>
              </a:ext>
            </a:extLst>
          </p:cNvPr>
          <p:cNvSpPr/>
          <p:nvPr/>
        </p:nvSpPr>
        <p:spPr>
          <a:xfrm>
            <a:off x="92698" y="3395115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</a:t>
            </a:r>
          </a:p>
        </p:txBody>
      </p:sp>
      <p:sp>
        <p:nvSpPr>
          <p:cNvPr id="10" name="شكل حر: شكل 22">
            <a:extLst>
              <a:ext uri="{FF2B5EF4-FFF2-40B4-BE49-F238E27FC236}">
                <a16:creationId xmlns:a16="http://schemas.microsoft.com/office/drawing/2014/main" id="{8712A1D3-9899-4791-E1FE-20EAA32C49E4}"/>
              </a:ext>
            </a:extLst>
          </p:cNvPr>
          <p:cNvSpPr/>
          <p:nvPr/>
        </p:nvSpPr>
        <p:spPr>
          <a:xfrm>
            <a:off x="278616" y="3395115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in Page</a:t>
            </a:r>
          </a:p>
        </p:txBody>
      </p:sp>
      <p:pic>
        <p:nvPicPr>
          <p:cNvPr id="11" name="صورة 9">
            <a:extLst>
              <a:ext uri="{FF2B5EF4-FFF2-40B4-BE49-F238E27FC236}">
                <a16:creationId xmlns:a16="http://schemas.microsoft.com/office/drawing/2014/main" id="{FE068B45-31EC-269B-4F1E-E9A3B31510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3" r="18324"/>
          <a:stretch/>
        </p:blipFill>
        <p:spPr>
          <a:xfrm>
            <a:off x="3015442" y="455335"/>
            <a:ext cx="8989502" cy="581752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1DD937EC-8D65-56F9-32A6-CCDCBEE2D7F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FC030CAD-FB0A-8E8C-AA20-A25530DA4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3328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B3A08FB1-C06B-74A4-AA9F-F201C8D940A3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ADE138F-1D90-CEE7-A42A-5DB6697B54B3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D74BC2-93BD-652A-13BF-E86029F83F1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7">
            <a:extLst>
              <a:ext uri="{FF2B5EF4-FFF2-40B4-BE49-F238E27FC236}">
                <a16:creationId xmlns:a16="http://schemas.microsoft.com/office/drawing/2014/main" id="{CE4A41D5-77FC-CB7F-C683-ED03717CEC40}"/>
              </a:ext>
            </a:extLst>
          </p:cNvPr>
          <p:cNvSpPr/>
          <p:nvPr/>
        </p:nvSpPr>
        <p:spPr>
          <a:xfrm>
            <a:off x="30826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</a:t>
            </a:r>
          </a:p>
        </p:txBody>
      </p:sp>
      <p:sp>
        <p:nvSpPr>
          <p:cNvPr id="9" name="شكل حر: شكل 18">
            <a:extLst>
              <a:ext uri="{FF2B5EF4-FFF2-40B4-BE49-F238E27FC236}">
                <a16:creationId xmlns:a16="http://schemas.microsoft.com/office/drawing/2014/main" id="{EFC1BB5B-AAD7-97AC-E4B9-067427427E2D}"/>
              </a:ext>
            </a:extLst>
          </p:cNvPr>
          <p:cNvSpPr/>
          <p:nvPr/>
        </p:nvSpPr>
        <p:spPr>
          <a:xfrm>
            <a:off x="68010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o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A527389A-87BF-24F8-F871-A1553AFF0A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0" t="59530" r="6971"/>
          <a:stretch/>
        </p:blipFill>
        <p:spPr>
          <a:xfrm>
            <a:off x="3738049" y="2459277"/>
            <a:ext cx="8082116" cy="241830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D34567EB-1086-9950-51D9-D81FDE357CF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D98A5DCC-0AAE-4860-AA78-0F12CF1B57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229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7D05D3-7E38-A0A7-5CF1-8BE0FAFF7F52}"/>
              </a:ext>
            </a:extLst>
          </p:cNvPr>
          <p:cNvGrpSpPr/>
          <p:nvPr/>
        </p:nvGrpSpPr>
        <p:grpSpPr>
          <a:xfrm>
            <a:off x="0" y="4163591"/>
            <a:ext cx="3492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07F0D80-1413-6D3D-9857-2507E643ADA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8F1596-24E7-77FC-D28A-9E4B5ACDEA2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15">
            <a:extLst>
              <a:ext uri="{FF2B5EF4-FFF2-40B4-BE49-F238E27FC236}">
                <a16:creationId xmlns:a16="http://schemas.microsoft.com/office/drawing/2014/main" id="{288FAA6A-423C-AFC8-B878-16B1974E28D3}"/>
              </a:ext>
            </a:extLst>
          </p:cNvPr>
          <p:cNvSpPr/>
          <p:nvPr/>
        </p:nvSpPr>
        <p:spPr>
          <a:xfrm>
            <a:off x="22606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3</a:t>
            </a:r>
          </a:p>
        </p:txBody>
      </p:sp>
      <p:sp>
        <p:nvSpPr>
          <p:cNvPr id="8" name="شكل حر: شكل 16">
            <a:extLst>
              <a:ext uri="{FF2B5EF4-FFF2-40B4-BE49-F238E27FC236}">
                <a16:creationId xmlns:a16="http://schemas.microsoft.com/office/drawing/2014/main" id="{705519FC-4B81-50A4-16D8-44ABD9059EA3}"/>
              </a:ext>
            </a:extLst>
          </p:cNvPr>
          <p:cNvSpPr/>
          <p:nvPr/>
        </p:nvSpPr>
        <p:spPr>
          <a:xfrm>
            <a:off x="597896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AD56AAEA-8C9D-B418-1F61-CBEB6732E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4" t="6899" r="10581"/>
          <a:stretch/>
        </p:blipFill>
        <p:spPr>
          <a:xfrm>
            <a:off x="3873910" y="766916"/>
            <a:ext cx="7620000" cy="54678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1F69034C-F699-E1A4-1047-D515E569B3D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7B848B7-F673-CBB0-8857-1A8906AC5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9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D9863BD-FA14-18B0-3D40-545C6633E7DC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F7F8B85-548E-33D7-DA84-2BBB8B9E948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66F7C-15D6-50A5-71DA-E4764378652E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6">
            <a:extLst>
              <a:ext uri="{FF2B5EF4-FFF2-40B4-BE49-F238E27FC236}">
                <a16:creationId xmlns:a16="http://schemas.microsoft.com/office/drawing/2014/main" id="{8D1B581B-296F-3DA5-89E1-24AAE1E319D0}"/>
              </a:ext>
            </a:extLst>
          </p:cNvPr>
          <p:cNvSpPr/>
          <p:nvPr/>
        </p:nvSpPr>
        <p:spPr>
          <a:xfrm>
            <a:off x="311673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4</a:t>
            </a:r>
          </a:p>
        </p:txBody>
      </p:sp>
      <p:sp>
        <p:nvSpPr>
          <p:cNvPr id="8" name="شكل حر: شكل 7">
            <a:extLst>
              <a:ext uri="{FF2B5EF4-FFF2-40B4-BE49-F238E27FC236}">
                <a16:creationId xmlns:a16="http://schemas.microsoft.com/office/drawing/2014/main" id="{A428B241-7266-220A-69D0-034F63D73AAF}"/>
              </a:ext>
            </a:extLst>
          </p:cNvPr>
          <p:cNvSpPr/>
          <p:nvPr/>
        </p:nvSpPr>
        <p:spPr>
          <a:xfrm>
            <a:off x="683509" y="3429000"/>
            <a:ext cx="271599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CC08EC1A-AEB6-0B6C-8DB1-B78616D38F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7" t="6784" r="10573" b="6749"/>
          <a:stretch/>
        </p:blipFill>
        <p:spPr>
          <a:xfrm>
            <a:off x="3824748" y="848032"/>
            <a:ext cx="8130461" cy="516193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BA2D34D-E54C-CCAD-7050-81FDA9AA5216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C695030A-629D-D973-D809-ED6E21474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36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CFB72E7A-A8E3-6178-2D15-8A1BDC4DC876}"/>
              </a:ext>
            </a:extLst>
          </p:cNvPr>
          <p:cNvGrpSpPr/>
          <p:nvPr/>
        </p:nvGrpSpPr>
        <p:grpSpPr>
          <a:xfrm>
            <a:off x="3212768" y="3288139"/>
            <a:ext cx="2026848" cy="2203964"/>
            <a:chOff x="3212768" y="3288139"/>
            <a:chExt cx="2026848" cy="2203964"/>
          </a:xfrm>
        </p:grpSpPr>
        <p:sp>
          <p:nvSpPr>
            <p:cNvPr id="2" name="Google Shape;97;p18">
              <a:extLst>
                <a:ext uri="{FF2B5EF4-FFF2-40B4-BE49-F238E27FC236}">
                  <a16:creationId xmlns:a16="http://schemas.microsoft.com/office/drawing/2014/main" id="{38EA16B5-0539-D7C3-FD6C-FD5DC9AE0B8F}"/>
                </a:ext>
              </a:extLst>
            </p:cNvPr>
            <p:cNvSpPr/>
            <p:nvPr/>
          </p:nvSpPr>
          <p:spPr>
            <a:xfrm>
              <a:off x="3212768" y="3288139"/>
              <a:ext cx="2026848" cy="2203964"/>
            </a:xfrm>
            <a:custGeom>
              <a:avLst/>
              <a:gdLst/>
              <a:ahLst/>
              <a:cxnLst/>
              <a:rect l="l" t="t" r="r" b="b"/>
              <a:pathLst>
                <a:path w="35006" h="38065" extrusionOk="0">
                  <a:moveTo>
                    <a:pt x="30387" y="0"/>
                  </a:moveTo>
                  <a:cubicBezTo>
                    <a:pt x="29977" y="0"/>
                    <a:pt x="29560" y="63"/>
                    <a:pt x="29147" y="195"/>
                  </a:cubicBezTo>
                  <a:lnTo>
                    <a:pt x="3620" y="8494"/>
                  </a:lnTo>
                  <a:cubicBezTo>
                    <a:pt x="1025" y="9339"/>
                    <a:pt x="1" y="12471"/>
                    <a:pt x="1608" y="14685"/>
                  </a:cubicBezTo>
                  <a:lnTo>
                    <a:pt x="17384" y="36402"/>
                  </a:lnTo>
                  <a:cubicBezTo>
                    <a:pt x="18180" y="37493"/>
                    <a:pt x="19416" y="38065"/>
                    <a:pt x="20659" y="38065"/>
                  </a:cubicBezTo>
                  <a:cubicBezTo>
                    <a:pt x="21628" y="38065"/>
                    <a:pt x="22601" y="37717"/>
                    <a:pt x="23373" y="36998"/>
                  </a:cubicBezTo>
                  <a:cubicBezTo>
                    <a:pt x="30529" y="30306"/>
                    <a:pt x="35005" y="20769"/>
                    <a:pt x="35005" y="10197"/>
                  </a:cubicBezTo>
                  <a:cubicBezTo>
                    <a:pt x="35005" y="7827"/>
                    <a:pt x="34791" y="5506"/>
                    <a:pt x="34350" y="3255"/>
                  </a:cubicBezTo>
                  <a:cubicBezTo>
                    <a:pt x="33979" y="1311"/>
                    <a:pt x="32261" y="0"/>
                    <a:pt x="3038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grpSp>
          <p:nvGrpSpPr>
            <p:cNvPr id="36" name="Google Shape;131;p18">
              <a:extLst>
                <a:ext uri="{FF2B5EF4-FFF2-40B4-BE49-F238E27FC236}">
                  <a16:creationId xmlns:a16="http://schemas.microsoft.com/office/drawing/2014/main" id="{53CAECE9-26DA-D4F7-7BDB-13F40125BCEA}"/>
                </a:ext>
              </a:extLst>
            </p:cNvPr>
            <p:cNvGrpSpPr/>
            <p:nvPr/>
          </p:nvGrpSpPr>
          <p:grpSpPr>
            <a:xfrm>
              <a:off x="4180804" y="4121656"/>
              <a:ext cx="633968" cy="536909"/>
              <a:chOff x="6671087" y="2009304"/>
              <a:chExt cx="332757" cy="281833"/>
            </a:xfrm>
          </p:grpSpPr>
          <p:sp>
            <p:nvSpPr>
              <p:cNvPr id="37" name="Google Shape;132;p18">
                <a:extLst>
                  <a:ext uri="{FF2B5EF4-FFF2-40B4-BE49-F238E27FC236}">
                    <a16:creationId xmlns:a16="http://schemas.microsoft.com/office/drawing/2014/main" id="{D202EED3-37ED-7FDD-AED9-32B97F2C5876}"/>
                  </a:ext>
                </a:extLst>
              </p:cNvPr>
              <p:cNvSpPr/>
              <p:nvPr/>
            </p:nvSpPr>
            <p:spPr>
              <a:xfrm>
                <a:off x="6671087" y="2023658"/>
                <a:ext cx="331993" cy="267478"/>
              </a:xfrm>
              <a:custGeom>
                <a:avLst/>
                <a:gdLst/>
                <a:ahLst/>
                <a:cxnLst/>
                <a:rect l="l" t="t" r="r" b="b"/>
                <a:pathLst>
                  <a:path w="10431" h="8404" extrusionOk="0">
                    <a:moveTo>
                      <a:pt x="6359" y="2272"/>
                    </a:moveTo>
                    <a:lnTo>
                      <a:pt x="7192" y="2546"/>
                    </a:lnTo>
                    <a:cubicBezTo>
                      <a:pt x="7203" y="2553"/>
                      <a:pt x="7215" y="2556"/>
                      <a:pt x="7228" y="2556"/>
                    </a:cubicBezTo>
                    <a:cubicBezTo>
                      <a:pt x="7261" y="2556"/>
                      <a:pt x="7298" y="2539"/>
                      <a:pt x="7323" y="2522"/>
                    </a:cubicBezTo>
                    <a:lnTo>
                      <a:pt x="7585" y="2332"/>
                    </a:lnTo>
                    <a:lnTo>
                      <a:pt x="9419" y="4725"/>
                    </a:lnTo>
                    <a:lnTo>
                      <a:pt x="9109" y="4951"/>
                    </a:lnTo>
                    <a:cubicBezTo>
                      <a:pt x="9097" y="4927"/>
                      <a:pt x="9061" y="4915"/>
                      <a:pt x="9050" y="4903"/>
                    </a:cubicBezTo>
                    <a:lnTo>
                      <a:pt x="5882" y="3177"/>
                    </a:lnTo>
                    <a:lnTo>
                      <a:pt x="6002" y="2987"/>
                    </a:lnTo>
                    <a:cubicBezTo>
                      <a:pt x="6049" y="2903"/>
                      <a:pt x="6025" y="2820"/>
                      <a:pt x="5954" y="2772"/>
                    </a:cubicBezTo>
                    <a:cubicBezTo>
                      <a:pt x="5929" y="2755"/>
                      <a:pt x="5900" y="2747"/>
                      <a:pt x="5873" y="2747"/>
                    </a:cubicBezTo>
                    <a:cubicBezTo>
                      <a:pt x="5822" y="2747"/>
                      <a:pt x="5775" y="2774"/>
                      <a:pt x="5752" y="2820"/>
                    </a:cubicBezTo>
                    <a:lnTo>
                      <a:pt x="5418" y="3356"/>
                    </a:lnTo>
                    <a:cubicBezTo>
                      <a:pt x="5406" y="3379"/>
                      <a:pt x="5382" y="3415"/>
                      <a:pt x="5382" y="3427"/>
                    </a:cubicBezTo>
                    <a:lnTo>
                      <a:pt x="5382" y="4725"/>
                    </a:lnTo>
                    <a:cubicBezTo>
                      <a:pt x="5382" y="4987"/>
                      <a:pt x="5168" y="5213"/>
                      <a:pt x="4894" y="5213"/>
                    </a:cubicBezTo>
                    <a:cubicBezTo>
                      <a:pt x="4632" y="5213"/>
                      <a:pt x="4406" y="4987"/>
                      <a:pt x="4406" y="4725"/>
                    </a:cubicBezTo>
                    <a:lnTo>
                      <a:pt x="4406" y="3439"/>
                    </a:lnTo>
                    <a:lnTo>
                      <a:pt x="4704" y="2272"/>
                    </a:lnTo>
                    <a:close/>
                    <a:moveTo>
                      <a:pt x="2692" y="1796"/>
                    </a:moveTo>
                    <a:lnTo>
                      <a:pt x="2930" y="1927"/>
                    </a:lnTo>
                    <a:lnTo>
                      <a:pt x="929" y="5392"/>
                    </a:lnTo>
                    <a:lnTo>
                      <a:pt x="691" y="5261"/>
                    </a:lnTo>
                    <a:lnTo>
                      <a:pt x="2692" y="1796"/>
                    </a:lnTo>
                    <a:close/>
                    <a:moveTo>
                      <a:pt x="3215" y="4844"/>
                    </a:moveTo>
                    <a:cubicBezTo>
                      <a:pt x="3323" y="4844"/>
                      <a:pt x="3406" y="4892"/>
                      <a:pt x="3489" y="4975"/>
                    </a:cubicBezTo>
                    <a:cubicBezTo>
                      <a:pt x="3608" y="5130"/>
                      <a:pt x="3561" y="5344"/>
                      <a:pt x="3406" y="5451"/>
                    </a:cubicBezTo>
                    <a:lnTo>
                      <a:pt x="2323" y="6213"/>
                    </a:lnTo>
                    <a:cubicBezTo>
                      <a:pt x="2266" y="6255"/>
                      <a:pt x="2199" y="6275"/>
                      <a:pt x="2131" y="6275"/>
                    </a:cubicBezTo>
                    <a:cubicBezTo>
                      <a:pt x="2027" y="6275"/>
                      <a:pt x="1923" y="6228"/>
                      <a:pt x="1858" y="6142"/>
                    </a:cubicBezTo>
                    <a:cubicBezTo>
                      <a:pt x="1763" y="5987"/>
                      <a:pt x="1787" y="5785"/>
                      <a:pt x="1942" y="5677"/>
                    </a:cubicBezTo>
                    <a:lnTo>
                      <a:pt x="3025" y="4903"/>
                    </a:lnTo>
                    <a:cubicBezTo>
                      <a:pt x="3085" y="4856"/>
                      <a:pt x="3156" y="4844"/>
                      <a:pt x="3215" y="4844"/>
                    </a:cubicBezTo>
                    <a:close/>
                    <a:moveTo>
                      <a:pt x="3811" y="5606"/>
                    </a:moveTo>
                    <a:cubicBezTo>
                      <a:pt x="3918" y="5606"/>
                      <a:pt x="4001" y="5665"/>
                      <a:pt x="4061" y="5737"/>
                    </a:cubicBezTo>
                    <a:cubicBezTo>
                      <a:pt x="4180" y="5880"/>
                      <a:pt x="4144" y="6106"/>
                      <a:pt x="3989" y="6213"/>
                    </a:cubicBezTo>
                    <a:lnTo>
                      <a:pt x="3156" y="6820"/>
                    </a:lnTo>
                    <a:cubicBezTo>
                      <a:pt x="3100" y="6863"/>
                      <a:pt x="3032" y="6883"/>
                      <a:pt x="2964" y="6883"/>
                    </a:cubicBezTo>
                    <a:cubicBezTo>
                      <a:pt x="2861" y="6883"/>
                      <a:pt x="2756" y="6835"/>
                      <a:pt x="2692" y="6749"/>
                    </a:cubicBezTo>
                    <a:cubicBezTo>
                      <a:pt x="2573" y="6594"/>
                      <a:pt x="2620" y="6380"/>
                      <a:pt x="2775" y="6273"/>
                    </a:cubicBezTo>
                    <a:lnTo>
                      <a:pt x="3573" y="5689"/>
                    </a:lnTo>
                    <a:cubicBezTo>
                      <a:pt x="3608" y="5677"/>
                      <a:pt x="3632" y="5642"/>
                      <a:pt x="3668" y="5630"/>
                    </a:cubicBezTo>
                    <a:cubicBezTo>
                      <a:pt x="3704" y="5618"/>
                      <a:pt x="3763" y="5606"/>
                      <a:pt x="3811" y="5606"/>
                    </a:cubicBezTo>
                    <a:close/>
                    <a:moveTo>
                      <a:pt x="4415" y="6386"/>
                    </a:moveTo>
                    <a:cubicBezTo>
                      <a:pt x="4516" y="6386"/>
                      <a:pt x="4617" y="6431"/>
                      <a:pt x="4680" y="6523"/>
                    </a:cubicBezTo>
                    <a:cubicBezTo>
                      <a:pt x="4799" y="6666"/>
                      <a:pt x="4751" y="6892"/>
                      <a:pt x="4597" y="6999"/>
                    </a:cubicBezTo>
                    <a:lnTo>
                      <a:pt x="4001" y="7416"/>
                    </a:lnTo>
                    <a:cubicBezTo>
                      <a:pt x="3946" y="7462"/>
                      <a:pt x="3883" y="7479"/>
                      <a:pt x="3814" y="7479"/>
                    </a:cubicBezTo>
                    <a:cubicBezTo>
                      <a:pt x="3793" y="7479"/>
                      <a:pt x="3773" y="7478"/>
                      <a:pt x="3751" y="7475"/>
                    </a:cubicBezTo>
                    <a:cubicBezTo>
                      <a:pt x="3668" y="7463"/>
                      <a:pt x="3585" y="7416"/>
                      <a:pt x="3525" y="7344"/>
                    </a:cubicBezTo>
                    <a:cubicBezTo>
                      <a:pt x="3430" y="7189"/>
                      <a:pt x="3454" y="6987"/>
                      <a:pt x="3608" y="6880"/>
                    </a:cubicBezTo>
                    <a:lnTo>
                      <a:pt x="4180" y="6463"/>
                    </a:lnTo>
                    <a:lnTo>
                      <a:pt x="4216" y="6451"/>
                    </a:lnTo>
                    <a:cubicBezTo>
                      <a:pt x="4274" y="6407"/>
                      <a:pt x="4344" y="6386"/>
                      <a:pt x="4415" y="6386"/>
                    </a:cubicBezTo>
                    <a:close/>
                    <a:moveTo>
                      <a:pt x="2894" y="2594"/>
                    </a:moveTo>
                    <a:lnTo>
                      <a:pt x="3168" y="2760"/>
                    </a:lnTo>
                    <a:cubicBezTo>
                      <a:pt x="3193" y="2769"/>
                      <a:pt x="3212" y="2777"/>
                      <a:pt x="3234" y="2777"/>
                    </a:cubicBezTo>
                    <a:cubicBezTo>
                      <a:pt x="3243" y="2777"/>
                      <a:pt x="3253" y="2776"/>
                      <a:pt x="3263" y="2772"/>
                    </a:cubicBezTo>
                    <a:lnTo>
                      <a:pt x="3977" y="2677"/>
                    </a:lnTo>
                    <a:lnTo>
                      <a:pt x="4239" y="2784"/>
                    </a:lnTo>
                    <a:lnTo>
                      <a:pt x="4097" y="3379"/>
                    </a:lnTo>
                    <a:lnTo>
                      <a:pt x="4097" y="3415"/>
                    </a:lnTo>
                    <a:lnTo>
                      <a:pt x="4097" y="4701"/>
                    </a:lnTo>
                    <a:cubicBezTo>
                      <a:pt x="4097" y="5154"/>
                      <a:pt x="4454" y="5511"/>
                      <a:pt x="4894" y="5511"/>
                    </a:cubicBezTo>
                    <a:cubicBezTo>
                      <a:pt x="5347" y="5511"/>
                      <a:pt x="5704" y="5154"/>
                      <a:pt x="5704" y="4701"/>
                    </a:cubicBezTo>
                    <a:lnTo>
                      <a:pt x="5704" y="3439"/>
                    </a:lnTo>
                    <a:lnTo>
                      <a:pt x="5728" y="3391"/>
                    </a:lnTo>
                    <a:lnTo>
                      <a:pt x="8919" y="5118"/>
                    </a:lnTo>
                    <a:cubicBezTo>
                      <a:pt x="9061" y="5261"/>
                      <a:pt x="9121" y="5463"/>
                      <a:pt x="9038" y="5630"/>
                    </a:cubicBezTo>
                    <a:cubicBezTo>
                      <a:pt x="8973" y="5742"/>
                      <a:pt x="8860" y="5806"/>
                      <a:pt x="8742" y="5806"/>
                    </a:cubicBezTo>
                    <a:cubicBezTo>
                      <a:pt x="8685" y="5806"/>
                      <a:pt x="8627" y="5792"/>
                      <a:pt x="8573" y="5761"/>
                    </a:cubicBezTo>
                    <a:lnTo>
                      <a:pt x="6799" y="4796"/>
                    </a:lnTo>
                    <a:cubicBezTo>
                      <a:pt x="6777" y="4781"/>
                      <a:pt x="6753" y="4775"/>
                      <a:pt x="6730" y="4775"/>
                    </a:cubicBezTo>
                    <a:cubicBezTo>
                      <a:pt x="6679" y="4775"/>
                      <a:pt x="6630" y="4807"/>
                      <a:pt x="6597" y="4856"/>
                    </a:cubicBezTo>
                    <a:cubicBezTo>
                      <a:pt x="6549" y="4927"/>
                      <a:pt x="6585" y="5023"/>
                      <a:pt x="6656" y="5058"/>
                    </a:cubicBezTo>
                    <a:lnTo>
                      <a:pt x="8133" y="5868"/>
                    </a:lnTo>
                    <a:cubicBezTo>
                      <a:pt x="8288" y="5951"/>
                      <a:pt x="8347" y="6166"/>
                      <a:pt x="8264" y="6332"/>
                    </a:cubicBezTo>
                    <a:cubicBezTo>
                      <a:pt x="8198" y="6439"/>
                      <a:pt x="8080" y="6501"/>
                      <a:pt x="7959" y="6501"/>
                    </a:cubicBezTo>
                    <a:cubicBezTo>
                      <a:pt x="7905" y="6501"/>
                      <a:pt x="7851" y="6489"/>
                      <a:pt x="7799" y="6463"/>
                    </a:cubicBezTo>
                    <a:lnTo>
                      <a:pt x="6299" y="5642"/>
                    </a:lnTo>
                    <a:cubicBezTo>
                      <a:pt x="6277" y="5627"/>
                      <a:pt x="6252" y="5620"/>
                      <a:pt x="6227" y="5620"/>
                    </a:cubicBezTo>
                    <a:cubicBezTo>
                      <a:pt x="6173" y="5620"/>
                      <a:pt x="6118" y="5652"/>
                      <a:pt x="6085" y="5701"/>
                    </a:cubicBezTo>
                    <a:cubicBezTo>
                      <a:pt x="6049" y="5773"/>
                      <a:pt x="6073" y="5868"/>
                      <a:pt x="6144" y="5916"/>
                    </a:cubicBezTo>
                    <a:lnTo>
                      <a:pt x="7371" y="6570"/>
                    </a:lnTo>
                    <a:cubicBezTo>
                      <a:pt x="7537" y="6654"/>
                      <a:pt x="7597" y="6868"/>
                      <a:pt x="7502" y="7023"/>
                    </a:cubicBezTo>
                    <a:cubicBezTo>
                      <a:pt x="7444" y="7139"/>
                      <a:pt x="7322" y="7203"/>
                      <a:pt x="7197" y="7203"/>
                    </a:cubicBezTo>
                    <a:cubicBezTo>
                      <a:pt x="7143" y="7203"/>
                      <a:pt x="7088" y="7191"/>
                      <a:pt x="7037" y="7166"/>
                    </a:cubicBezTo>
                    <a:lnTo>
                      <a:pt x="5775" y="6463"/>
                    </a:lnTo>
                    <a:cubicBezTo>
                      <a:pt x="5753" y="6448"/>
                      <a:pt x="5728" y="6442"/>
                      <a:pt x="5704" y="6442"/>
                    </a:cubicBezTo>
                    <a:cubicBezTo>
                      <a:pt x="5650" y="6442"/>
                      <a:pt x="5597" y="6474"/>
                      <a:pt x="5573" y="6523"/>
                    </a:cubicBezTo>
                    <a:cubicBezTo>
                      <a:pt x="5525" y="6594"/>
                      <a:pt x="5549" y="6689"/>
                      <a:pt x="5632" y="6725"/>
                    </a:cubicBezTo>
                    <a:lnTo>
                      <a:pt x="6609" y="7261"/>
                    </a:lnTo>
                    <a:cubicBezTo>
                      <a:pt x="6775" y="7356"/>
                      <a:pt x="6835" y="7559"/>
                      <a:pt x="6740" y="7725"/>
                    </a:cubicBezTo>
                    <a:cubicBezTo>
                      <a:pt x="6683" y="7838"/>
                      <a:pt x="6567" y="7902"/>
                      <a:pt x="6450" y="7902"/>
                    </a:cubicBezTo>
                    <a:cubicBezTo>
                      <a:pt x="6394" y="7902"/>
                      <a:pt x="6337" y="7887"/>
                      <a:pt x="6287" y="7856"/>
                    </a:cubicBezTo>
                    <a:lnTo>
                      <a:pt x="5597" y="7487"/>
                    </a:lnTo>
                    <a:cubicBezTo>
                      <a:pt x="5597" y="7344"/>
                      <a:pt x="5549" y="7201"/>
                      <a:pt x="5466" y="7082"/>
                    </a:cubicBezTo>
                    <a:cubicBezTo>
                      <a:pt x="5347" y="6939"/>
                      <a:pt x="5168" y="6844"/>
                      <a:pt x="4990" y="6832"/>
                    </a:cubicBezTo>
                    <a:cubicBezTo>
                      <a:pt x="4990" y="6820"/>
                      <a:pt x="4990" y="6808"/>
                      <a:pt x="5001" y="6785"/>
                    </a:cubicBezTo>
                    <a:cubicBezTo>
                      <a:pt x="5037" y="6606"/>
                      <a:pt x="4990" y="6451"/>
                      <a:pt x="4882" y="6308"/>
                    </a:cubicBezTo>
                    <a:cubicBezTo>
                      <a:pt x="4763" y="6166"/>
                      <a:pt x="4585" y="6070"/>
                      <a:pt x="4406" y="6058"/>
                    </a:cubicBezTo>
                    <a:cubicBezTo>
                      <a:pt x="4406" y="6046"/>
                      <a:pt x="4406" y="6035"/>
                      <a:pt x="4418" y="6011"/>
                    </a:cubicBezTo>
                    <a:cubicBezTo>
                      <a:pt x="4454" y="5832"/>
                      <a:pt x="4406" y="5677"/>
                      <a:pt x="4299" y="5535"/>
                    </a:cubicBezTo>
                    <a:cubicBezTo>
                      <a:pt x="4180" y="5392"/>
                      <a:pt x="4001" y="5296"/>
                      <a:pt x="3823" y="5284"/>
                    </a:cubicBezTo>
                    <a:cubicBezTo>
                      <a:pt x="3823" y="5273"/>
                      <a:pt x="3823" y="5261"/>
                      <a:pt x="3847" y="5237"/>
                    </a:cubicBezTo>
                    <a:cubicBezTo>
                      <a:pt x="3870" y="5058"/>
                      <a:pt x="3823" y="4903"/>
                      <a:pt x="3727" y="4761"/>
                    </a:cubicBezTo>
                    <a:cubicBezTo>
                      <a:pt x="3600" y="4597"/>
                      <a:pt x="3413" y="4515"/>
                      <a:pt x="3222" y="4515"/>
                    </a:cubicBezTo>
                    <a:cubicBezTo>
                      <a:pt x="3093" y="4515"/>
                      <a:pt x="2962" y="4553"/>
                      <a:pt x="2846" y="4630"/>
                    </a:cubicBezTo>
                    <a:lnTo>
                      <a:pt x="1775" y="5404"/>
                    </a:lnTo>
                    <a:lnTo>
                      <a:pt x="1382" y="5201"/>
                    </a:lnTo>
                    <a:lnTo>
                      <a:pt x="2894" y="2594"/>
                    </a:lnTo>
                    <a:close/>
                    <a:moveTo>
                      <a:pt x="5009" y="7159"/>
                    </a:moveTo>
                    <a:cubicBezTo>
                      <a:pt x="5109" y="7159"/>
                      <a:pt x="5207" y="7205"/>
                      <a:pt x="5263" y="7297"/>
                    </a:cubicBezTo>
                    <a:cubicBezTo>
                      <a:pt x="5311" y="7356"/>
                      <a:pt x="5347" y="7451"/>
                      <a:pt x="5335" y="7535"/>
                    </a:cubicBezTo>
                    <a:cubicBezTo>
                      <a:pt x="5311" y="7630"/>
                      <a:pt x="5263" y="7701"/>
                      <a:pt x="5192" y="7761"/>
                    </a:cubicBezTo>
                    <a:lnTo>
                      <a:pt x="4835" y="8011"/>
                    </a:lnTo>
                    <a:cubicBezTo>
                      <a:pt x="4778" y="8053"/>
                      <a:pt x="4711" y="8073"/>
                      <a:pt x="4643" y="8073"/>
                    </a:cubicBezTo>
                    <a:cubicBezTo>
                      <a:pt x="4539" y="8073"/>
                      <a:pt x="4435" y="8026"/>
                      <a:pt x="4370" y="7940"/>
                    </a:cubicBezTo>
                    <a:cubicBezTo>
                      <a:pt x="4275" y="7785"/>
                      <a:pt x="4299" y="7582"/>
                      <a:pt x="4454" y="7475"/>
                    </a:cubicBezTo>
                    <a:lnTo>
                      <a:pt x="4775" y="7237"/>
                    </a:lnTo>
                    <a:lnTo>
                      <a:pt x="4811" y="7225"/>
                    </a:lnTo>
                    <a:cubicBezTo>
                      <a:pt x="4869" y="7181"/>
                      <a:pt x="4940" y="7159"/>
                      <a:pt x="5009" y="7159"/>
                    </a:cubicBezTo>
                    <a:close/>
                    <a:moveTo>
                      <a:pt x="182" y="0"/>
                    </a:moveTo>
                    <a:cubicBezTo>
                      <a:pt x="131" y="0"/>
                      <a:pt x="81" y="32"/>
                      <a:pt x="48" y="81"/>
                    </a:cubicBezTo>
                    <a:cubicBezTo>
                      <a:pt x="1" y="153"/>
                      <a:pt x="25" y="248"/>
                      <a:pt x="108" y="284"/>
                    </a:cubicBezTo>
                    <a:lnTo>
                      <a:pt x="2430" y="1629"/>
                    </a:lnTo>
                    <a:lnTo>
                      <a:pt x="418" y="5094"/>
                    </a:lnTo>
                    <a:lnTo>
                      <a:pt x="251" y="5011"/>
                    </a:lnTo>
                    <a:cubicBezTo>
                      <a:pt x="226" y="4994"/>
                      <a:pt x="200" y="4986"/>
                      <a:pt x="175" y="4986"/>
                    </a:cubicBezTo>
                    <a:cubicBezTo>
                      <a:pt x="126" y="4986"/>
                      <a:pt x="80" y="5015"/>
                      <a:pt x="48" y="5070"/>
                    </a:cubicBezTo>
                    <a:cubicBezTo>
                      <a:pt x="1" y="5142"/>
                      <a:pt x="25" y="5225"/>
                      <a:pt x="108" y="5273"/>
                    </a:cubicBezTo>
                    <a:lnTo>
                      <a:pt x="906" y="5737"/>
                    </a:lnTo>
                    <a:cubicBezTo>
                      <a:pt x="932" y="5752"/>
                      <a:pt x="958" y="5759"/>
                      <a:pt x="983" y="5759"/>
                    </a:cubicBezTo>
                    <a:cubicBezTo>
                      <a:pt x="1038" y="5759"/>
                      <a:pt x="1087" y="5726"/>
                      <a:pt x="1120" y="5677"/>
                    </a:cubicBezTo>
                    <a:lnTo>
                      <a:pt x="1239" y="5463"/>
                    </a:lnTo>
                    <a:lnTo>
                      <a:pt x="1561" y="5642"/>
                    </a:lnTo>
                    <a:cubicBezTo>
                      <a:pt x="1465" y="5856"/>
                      <a:pt x="1465" y="6106"/>
                      <a:pt x="1608" y="6320"/>
                    </a:cubicBezTo>
                    <a:cubicBezTo>
                      <a:pt x="1727" y="6499"/>
                      <a:pt x="1942" y="6582"/>
                      <a:pt x="2132" y="6582"/>
                    </a:cubicBezTo>
                    <a:cubicBezTo>
                      <a:pt x="2192" y="6582"/>
                      <a:pt x="2263" y="6570"/>
                      <a:pt x="2323" y="6558"/>
                    </a:cubicBezTo>
                    <a:cubicBezTo>
                      <a:pt x="2323" y="6689"/>
                      <a:pt x="2370" y="6820"/>
                      <a:pt x="2442" y="6928"/>
                    </a:cubicBezTo>
                    <a:cubicBezTo>
                      <a:pt x="2561" y="7094"/>
                      <a:pt x="2751" y="7178"/>
                      <a:pt x="2965" y="7178"/>
                    </a:cubicBezTo>
                    <a:cubicBezTo>
                      <a:pt x="3025" y="7178"/>
                      <a:pt x="3096" y="7166"/>
                      <a:pt x="3156" y="7154"/>
                    </a:cubicBezTo>
                    <a:cubicBezTo>
                      <a:pt x="3156" y="7285"/>
                      <a:pt x="3204" y="7404"/>
                      <a:pt x="3275" y="7523"/>
                    </a:cubicBezTo>
                    <a:cubicBezTo>
                      <a:pt x="3382" y="7654"/>
                      <a:pt x="3525" y="7749"/>
                      <a:pt x="3692" y="7773"/>
                    </a:cubicBezTo>
                    <a:cubicBezTo>
                      <a:pt x="3716" y="7773"/>
                      <a:pt x="3763" y="7785"/>
                      <a:pt x="3799" y="7785"/>
                    </a:cubicBezTo>
                    <a:cubicBezTo>
                      <a:pt x="3858" y="7785"/>
                      <a:pt x="3930" y="7773"/>
                      <a:pt x="3989" y="7761"/>
                    </a:cubicBezTo>
                    <a:cubicBezTo>
                      <a:pt x="3989" y="7892"/>
                      <a:pt x="4037" y="8011"/>
                      <a:pt x="4108" y="8130"/>
                    </a:cubicBezTo>
                    <a:cubicBezTo>
                      <a:pt x="4216" y="8261"/>
                      <a:pt x="4358" y="8356"/>
                      <a:pt x="4525" y="8380"/>
                    </a:cubicBezTo>
                    <a:cubicBezTo>
                      <a:pt x="4549" y="8380"/>
                      <a:pt x="4597" y="8404"/>
                      <a:pt x="4632" y="8404"/>
                    </a:cubicBezTo>
                    <a:cubicBezTo>
                      <a:pt x="4763" y="8404"/>
                      <a:pt x="4894" y="8356"/>
                      <a:pt x="5001" y="8285"/>
                    </a:cubicBezTo>
                    <a:lnTo>
                      <a:pt x="5359" y="8023"/>
                    </a:lnTo>
                    <a:cubicBezTo>
                      <a:pt x="5430" y="7963"/>
                      <a:pt x="5490" y="7904"/>
                      <a:pt x="5537" y="7820"/>
                    </a:cubicBezTo>
                    <a:lnTo>
                      <a:pt x="6156" y="8166"/>
                    </a:lnTo>
                    <a:cubicBezTo>
                      <a:pt x="6252" y="8201"/>
                      <a:pt x="6359" y="8237"/>
                      <a:pt x="6478" y="8237"/>
                    </a:cubicBezTo>
                    <a:cubicBezTo>
                      <a:pt x="6537" y="8237"/>
                      <a:pt x="6597" y="8225"/>
                      <a:pt x="6656" y="8201"/>
                    </a:cubicBezTo>
                    <a:cubicBezTo>
                      <a:pt x="6811" y="8166"/>
                      <a:pt x="6954" y="8047"/>
                      <a:pt x="7037" y="7892"/>
                    </a:cubicBezTo>
                    <a:cubicBezTo>
                      <a:pt x="7097" y="7773"/>
                      <a:pt x="7133" y="7642"/>
                      <a:pt x="7109" y="7523"/>
                    </a:cubicBezTo>
                    <a:cubicBezTo>
                      <a:pt x="7156" y="7523"/>
                      <a:pt x="7192" y="7535"/>
                      <a:pt x="7228" y="7535"/>
                    </a:cubicBezTo>
                    <a:cubicBezTo>
                      <a:pt x="7454" y="7535"/>
                      <a:pt x="7680" y="7416"/>
                      <a:pt x="7799" y="7213"/>
                    </a:cubicBezTo>
                    <a:cubicBezTo>
                      <a:pt x="7859" y="7094"/>
                      <a:pt x="7883" y="6951"/>
                      <a:pt x="7871" y="6832"/>
                    </a:cubicBezTo>
                    <a:cubicBezTo>
                      <a:pt x="7918" y="6832"/>
                      <a:pt x="7942" y="6856"/>
                      <a:pt x="7990" y="6856"/>
                    </a:cubicBezTo>
                    <a:cubicBezTo>
                      <a:pt x="8216" y="6856"/>
                      <a:pt x="8442" y="6737"/>
                      <a:pt x="8561" y="6523"/>
                    </a:cubicBezTo>
                    <a:cubicBezTo>
                      <a:pt x="8621" y="6404"/>
                      <a:pt x="8645" y="6273"/>
                      <a:pt x="8633" y="6154"/>
                    </a:cubicBezTo>
                    <a:cubicBezTo>
                      <a:pt x="8680" y="6154"/>
                      <a:pt x="8704" y="6166"/>
                      <a:pt x="8752" y="6166"/>
                    </a:cubicBezTo>
                    <a:cubicBezTo>
                      <a:pt x="8811" y="6166"/>
                      <a:pt x="8871" y="6154"/>
                      <a:pt x="8930" y="6142"/>
                    </a:cubicBezTo>
                    <a:cubicBezTo>
                      <a:pt x="9097" y="6094"/>
                      <a:pt x="9228" y="5975"/>
                      <a:pt x="9311" y="5820"/>
                    </a:cubicBezTo>
                    <a:cubicBezTo>
                      <a:pt x="9407" y="5677"/>
                      <a:pt x="9419" y="5499"/>
                      <a:pt x="9359" y="5332"/>
                    </a:cubicBezTo>
                    <a:cubicBezTo>
                      <a:pt x="9347" y="5284"/>
                      <a:pt x="9335" y="5261"/>
                      <a:pt x="9311" y="5213"/>
                    </a:cubicBezTo>
                    <a:lnTo>
                      <a:pt x="9585" y="5023"/>
                    </a:lnTo>
                    <a:lnTo>
                      <a:pt x="9728" y="5201"/>
                    </a:lnTo>
                    <a:cubicBezTo>
                      <a:pt x="9756" y="5236"/>
                      <a:pt x="9804" y="5254"/>
                      <a:pt x="9853" y="5254"/>
                    </a:cubicBezTo>
                    <a:cubicBezTo>
                      <a:pt x="9889" y="5254"/>
                      <a:pt x="9925" y="5245"/>
                      <a:pt x="9954" y="5225"/>
                    </a:cubicBezTo>
                    <a:lnTo>
                      <a:pt x="10371" y="4903"/>
                    </a:lnTo>
                    <a:cubicBezTo>
                      <a:pt x="10431" y="4808"/>
                      <a:pt x="10431" y="4725"/>
                      <a:pt x="10395" y="4653"/>
                    </a:cubicBezTo>
                    <a:cubicBezTo>
                      <a:pt x="10350" y="4616"/>
                      <a:pt x="10300" y="4592"/>
                      <a:pt x="10254" y="4592"/>
                    </a:cubicBezTo>
                    <a:cubicBezTo>
                      <a:pt x="10228" y="4592"/>
                      <a:pt x="10202" y="4600"/>
                      <a:pt x="10181" y="4618"/>
                    </a:cubicBezTo>
                    <a:lnTo>
                      <a:pt x="9883" y="4856"/>
                    </a:lnTo>
                    <a:lnTo>
                      <a:pt x="7454" y="1689"/>
                    </a:lnTo>
                    <a:lnTo>
                      <a:pt x="8835" y="796"/>
                    </a:lnTo>
                    <a:cubicBezTo>
                      <a:pt x="8919" y="748"/>
                      <a:pt x="8930" y="665"/>
                      <a:pt x="8883" y="582"/>
                    </a:cubicBezTo>
                    <a:cubicBezTo>
                      <a:pt x="8854" y="539"/>
                      <a:pt x="8813" y="517"/>
                      <a:pt x="8769" y="517"/>
                    </a:cubicBezTo>
                    <a:cubicBezTo>
                      <a:pt x="8740" y="517"/>
                      <a:pt x="8709" y="527"/>
                      <a:pt x="8680" y="546"/>
                    </a:cubicBezTo>
                    <a:lnTo>
                      <a:pt x="7156" y="1522"/>
                    </a:lnTo>
                    <a:cubicBezTo>
                      <a:pt x="7085" y="1570"/>
                      <a:pt x="7073" y="1677"/>
                      <a:pt x="7109" y="1748"/>
                    </a:cubicBezTo>
                    <a:lnTo>
                      <a:pt x="7395" y="2106"/>
                    </a:lnTo>
                    <a:lnTo>
                      <a:pt x="7204" y="2248"/>
                    </a:lnTo>
                    <a:lnTo>
                      <a:pt x="6418" y="1998"/>
                    </a:lnTo>
                    <a:cubicBezTo>
                      <a:pt x="6406" y="1998"/>
                      <a:pt x="6383" y="1986"/>
                      <a:pt x="6371" y="1986"/>
                    </a:cubicBezTo>
                    <a:lnTo>
                      <a:pt x="4585" y="1986"/>
                    </a:lnTo>
                    <a:cubicBezTo>
                      <a:pt x="4513" y="1986"/>
                      <a:pt x="4454" y="2034"/>
                      <a:pt x="4442" y="2106"/>
                    </a:cubicBezTo>
                    <a:lnTo>
                      <a:pt x="4335" y="2510"/>
                    </a:lnTo>
                    <a:lnTo>
                      <a:pt x="4073" y="2403"/>
                    </a:lnTo>
                    <a:cubicBezTo>
                      <a:pt x="4049" y="2391"/>
                      <a:pt x="4037" y="2391"/>
                      <a:pt x="4001" y="2391"/>
                    </a:cubicBezTo>
                    <a:lnTo>
                      <a:pt x="3287" y="2475"/>
                    </a:lnTo>
                    <a:lnTo>
                      <a:pt x="3049" y="2344"/>
                    </a:lnTo>
                    <a:lnTo>
                      <a:pt x="3275" y="1939"/>
                    </a:lnTo>
                    <a:cubicBezTo>
                      <a:pt x="3323" y="1867"/>
                      <a:pt x="3287" y="1772"/>
                      <a:pt x="3215" y="1736"/>
                    </a:cubicBezTo>
                    <a:lnTo>
                      <a:pt x="251" y="22"/>
                    </a:lnTo>
                    <a:cubicBezTo>
                      <a:pt x="228" y="7"/>
                      <a:pt x="205" y="0"/>
                      <a:pt x="182" y="0"/>
                    </a:cubicBezTo>
                    <a:close/>
                  </a:path>
                </a:pathLst>
              </a:cu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38" name="Google Shape;133;p18">
                <a:extLst>
                  <a:ext uri="{FF2B5EF4-FFF2-40B4-BE49-F238E27FC236}">
                    <a16:creationId xmlns:a16="http://schemas.microsoft.com/office/drawing/2014/main" id="{768EF5BA-9B90-31F0-5DB5-44B59F5AF448}"/>
                  </a:ext>
                </a:extLst>
              </p:cNvPr>
              <p:cNvSpPr/>
              <p:nvPr/>
            </p:nvSpPr>
            <p:spPr>
              <a:xfrm>
                <a:off x="6965173" y="2009304"/>
                <a:ext cx="38670" cy="27181"/>
              </a:xfrm>
              <a:custGeom>
                <a:avLst/>
                <a:gdLst/>
                <a:ahLst/>
                <a:cxnLst/>
                <a:rect l="l" t="t" r="r" b="b"/>
                <a:pathLst>
                  <a:path w="1215" h="854" extrusionOk="0">
                    <a:moveTo>
                      <a:pt x="1023" y="1"/>
                    </a:moveTo>
                    <a:cubicBezTo>
                      <a:pt x="995" y="1"/>
                      <a:pt x="966" y="8"/>
                      <a:pt x="941" y="20"/>
                    </a:cubicBezTo>
                    <a:lnTo>
                      <a:pt x="95" y="580"/>
                    </a:lnTo>
                    <a:cubicBezTo>
                      <a:pt x="12" y="616"/>
                      <a:pt x="0" y="711"/>
                      <a:pt x="48" y="782"/>
                    </a:cubicBezTo>
                    <a:cubicBezTo>
                      <a:pt x="83" y="830"/>
                      <a:pt x="119" y="854"/>
                      <a:pt x="179" y="854"/>
                    </a:cubicBezTo>
                    <a:cubicBezTo>
                      <a:pt x="214" y="854"/>
                      <a:pt x="238" y="842"/>
                      <a:pt x="274" y="830"/>
                    </a:cubicBezTo>
                    <a:lnTo>
                      <a:pt x="1119" y="282"/>
                    </a:lnTo>
                    <a:cubicBezTo>
                      <a:pt x="1179" y="235"/>
                      <a:pt x="1214" y="140"/>
                      <a:pt x="1155" y="68"/>
                    </a:cubicBezTo>
                    <a:cubicBezTo>
                      <a:pt x="1124" y="22"/>
                      <a:pt x="1074" y="1"/>
                      <a:pt x="102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C1130DB-43B2-F411-1998-01F2AF57BBBF}"/>
              </a:ext>
            </a:extLst>
          </p:cNvPr>
          <p:cNvGrpSpPr/>
          <p:nvPr/>
        </p:nvGrpSpPr>
        <p:grpSpPr>
          <a:xfrm>
            <a:off x="1134975" y="1770601"/>
            <a:ext cx="1982669" cy="2020884"/>
            <a:chOff x="1134975" y="1770601"/>
            <a:chExt cx="1982669" cy="2020884"/>
          </a:xfrm>
        </p:grpSpPr>
        <p:sp>
          <p:nvSpPr>
            <p:cNvPr id="4" name="Google Shape;99;p18">
              <a:extLst>
                <a:ext uri="{FF2B5EF4-FFF2-40B4-BE49-F238E27FC236}">
                  <a16:creationId xmlns:a16="http://schemas.microsoft.com/office/drawing/2014/main" id="{451C895E-BC21-73EE-B8E5-9E2C0857885F}"/>
                </a:ext>
              </a:extLst>
            </p:cNvPr>
            <p:cNvSpPr/>
            <p:nvPr/>
          </p:nvSpPr>
          <p:spPr>
            <a:xfrm>
              <a:off x="1134975" y="1770601"/>
              <a:ext cx="1982669" cy="2020884"/>
            </a:xfrm>
            <a:custGeom>
              <a:avLst/>
              <a:gdLst/>
              <a:ahLst/>
              <a:cxnLst/>
              <a:rect l="l" t="t" r="r" b="b"/>
              <a:pathLst>
                <a:path w="34243" h="34903" extrusionOk="0">
                  <a:moveTo>
                    <a:pt x="30201" y="1"/>
                  </a:moveTo>
                  <a:cubicBezTo>
                    <a:pt x="30034" y="1"/>
                    <a:pt x="29865" y="11"/>
                    <a:pt x="29695" y="32"/>
                  </a:cubicBezTo>
                  <a:cubicBezTo>
                    <a:pt x="16979" y="1604"/>
                    <a:pt x="6263" y="9700"/>
                    <a:pt x="1024" y="20868"/>
                  </a:cubicBezTo>
                  <a:cubicBezTo>
                    <a:pt x="0" y="23071"/>
                    <a:pt x="1143" y="25666"/>
                    <a:pt x="3441" y="26416"/>
                  </a:cubicBezTo>
                  <a:lnTo>
                    <a:pt x="28968" y="34703"/>
                  </a:lnTo>
                  <a:cubicBezTo>
                    <a:pt x="29386" y="34839"/>
                    <a:pt x="29806" y="34903"/>
                    <a:pt x="30217" y="34903"/>
                  </a:cubicBezTo>
                  <a:cubicBezTo>
                    <a:pt x="32357" y="34903"/>
                    <a:pt x="34243" y="33167"/>
                    <a:pt x="34243" y="30869"/>
                  </a:cubicBezTo>
                  <a:lnTo>
                    <a:pt x="34243" y="4033"/>
                  </a:lnTo>
                  <a:cubicBezTo>
                    <a:pt x="34243" y="1775"/>
                    <a:pt x="32402" y="1"/>
                    <a:pt x="3020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61" name="Graphic 60" descr="Arrow circle with solid fill">
              <a:extLst>
                <a:ext uri="{FF2B5EF4-FFF2-40B4-BE49-F238E27FC236}">
                  <a16:creationId xmlns:a16="http://schemas.microsoft.com/office/drawing/2014/main" id="{46BE8DB7-A68A-A7EB-B1DD-25F3ECDCB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17449" y="2278654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E42C89-A2FE-F4A8-0752-196859B81F0C}"/>
              </a:ext>
            </a:extLst>
          </p:cNvPr>
          <p:cNvGrpSpPr/>
          <p:nvPr/>
        </p:nvGrpSpPr>
        <p:grpSpPr>
          <a:xfrm>
            <a:off x="1933262" y="4042248"/>
            <a:ext cx="2368052" cy="1959568"/>
            <a:chOff x="1933262" y="4042248"/>
            <a:chExt cx="2368052" cy="1959568"/>
          </a:xfrm>
        </p:grpSpPr>
        <p:sp>
          <p:nvSpPr>
            <p:cNvPr id="6" name="Google Shape;101;p18">
              <a:extLst>
                <a:ext uri="{FF2B5EF4-FFF2-40B4-BE49-F238E27FC236}">
                  <a16:creationId xmlns:a16="http://schemas.microsoft.com/office/drawing/2014/main" id="{F99B80BF-2504-323A-3D22-29264554BB11}"/>
                </a:ext>
              </a:extLst>
            </p:cNvPr>
            <p:cNvSpPr/>
            <p:nvPr/>
          </p:nvSpPr>
          <p:spPr>
            <a:xfrm>
              <a:off x="1933262" y="4042248"/>
              <a:ext cx="2368052" cy="1959568"/>
            </a:xfrm>
            <a:custGeom>
              <a:avLst/>
              <a:gdLst/>
              <a:ahLst/>
              <a:cxnLst/>
              <a:rect l="l" t="t" r="r" b="b"/>
              <a:pathLst>
                <a:path w="40899" h="33844" extrusionOk="0">
                  <a:moveTo>
                    <a:pt x="20450" y="0"/>
                  </a:moveTo>
                  <a:cubicBezTo>
                    <a:pt x="19224" y="0"/>
                    <a:pt x="17997" y="554"/>
                    <a:pt x="17194" y="1661"/>
                  </a:cubicBezTo>
                  <a:lnTo>
                    <a:pt x="1418" y="23378"/>
                  </a:lnTo>
                  <a:cubicBezTo>
                    <a:pt x="1" y="25331"/>
                    <a:pt x="596" y="28093"/>
                    <a:pt x="2716" y="29272"/>
                  </a:cubicBezTo>
                  <a:cubicBezTo>
                    <a:pt x="7966" y="32177"/>
                    <a:pt x="14015" y="33844"/>
                    <a:pt x="20456" y="33844"/>
                  </a:cubicBezTo>
                  <a:cubicBezTo>
                    <a:pt x="26885" y="33844"/>
                    <a:pt x="32934" y="32177"/>
                    <a:pt x="38196" y="29272"/>
                  </a:cubicBezTo>
                  <a:cubicBezTo>
                    <a:pt x="40304" y="28093"/>
                    <a:pt x="40899" y="25331"/>
                    <a:pt x="39482" y="23378"/>
                  </a:cubicBezTo>
                  <a:lnTo>
                    <a:pt x="23706" y="1661"/>
                  </a:lnTo>
                  <a:cubicBezTo>
                    <a:pt x="22903" y="554"/>
                    <a:pt x="21676" y="0"/>
                    <a:pt x="2045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59" name="Graphic 58" descr="Bar chart with solid fill">
              <a:extLst>
                <a:ext uri="{FF2B5EF4-FFF2-40B4-BE49-F238E27FC236}">
                  <a16:creationId xmlns:a16="http://schemas.microsoft.com/office/drawing/2014/main" id="{7B19AD40-6217-53B1-FF7C-DAEBA9AF8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58004" y="4915715"/>
              <a:ext cx="830360" cy="830360"/>
            </a:xfrm>
            <a:prstGeom prst="rect">
              <a:avLst/>
            </a:prstGeom>
          </p:spPr>
        </p:pic>
      </p:grpSp>
      <p:sp>
        <p:nvSpPr>
          <p:cNvPr id="58" name="Google Shape;101;p18">
            <a:extLst>
              <a:ext uri="{FF2B5EF4-FFF2-40B4-BE49-F238E27FC236}">
                <a16:creationId xmlns:a16="http://schemas.microsoft.com/office/drawing/2014/main" id="{A69525C4-C649-418F-BB70-80E5248C3096}"/>
              </a:ext>
            </a:extLst>
          </p:cNvPr>
          <p:cNvSpPr/>
          <p:nvPr/>
        </p:nvSpPr>
        <p:spPr>
          <a:xfrm rot="6756270">
            <a:off x="65054" y="328124"/>
            <a:ext cx="2368052" cy="1959568"/>
          </a:xfrm>
          <a:custGeom>
            <a:avLst/>
            <a:gdLst/>
            <a:ahLst/>
            <a:cxnLst/>
            <a:rect l="l" t="t" r="r" b="b"/>
            <a:pathLst>
              <a:path w="40899" h="33844" extrusionOk="0">
                <a:moveTo>
                  <a:pt x="20450" y="0"/>
                </a:moveTo>
                <a:cubicBezTo>
                  <a:pt x="19224" y="0"/>
                  <a:pt x="17997" y="554"/>
                  <a:pt x="17194" y="1661"/>
                </a:cubicBezTo>
                <a:lnTo>
                  <a:pt x="1418" y="23378"/>
                </a:lnTo>
                <a:cubicBezTo>
                  <a:pt x="1" y="25331"/>
                  <a:pt x="596" y="28093"/>
                  <a:pt x="2716" y="29272"/>
                </a:cubicBezTo>
                <a:cubicBezTo>
                  <a:pt x="7966" y="32177"/>
                  <a:pt x="14015" y="33844"/>
                  <a:pt x="20456" y="33844"/>
                </a:cubicBezTo>
                <a:cubicBezTo>
                  <a:pt x="26885" y="33844"/>
                  <a:pt x="32934" y="32177"/>
                  <a:pt x="38196" y="29272"/>
                </a:cubicBezTo>
                <a:cubicBezTo>
                  <a:pt x="40304" y="28093"/>
                  <a:pt x="40899" y="25331"/>
                  <a:pt x="39482" y="23378"/>
                </a:cubicBezTo>
                <a:lnTo>
                  <a:pt x="23706" y="1661"/>
                </a:lnTo>
                <a:cubicBezTo>
                  <a:pt x="22903" y="554"/>
                  <a:pt x="21676" y="0"/>
                  <a:pt x="204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3" name="Google Shape;98;p18">
            <a:extLst>
              <a:ext uri="{FF2B5EF4-FFF2-40B4-BE49-F238E27FC236}">
                <a16:creationId xmlns:a16="http://schemas.microsoft.com/office/drawing/2014/main" id="{60D19368-750F-0948-DBC3-67FAE9E2F23B}"/>
              </a:ext>
            </a:extLst>
          </p:cNvPr>
          <p:cNvSpPr/>
          <p:nvPr/>
        </p:nvSpPr>
        <p:spPr>
          <a:xfrm>
            <a:off x="3117637" y="1770601"/>
            <a:ext cx="1982033" cy="2020884"/>
          </a:xfrm>
          <a:custGeom>
            <a:avLst/>
            <a:gdLst/>
            <a:ahLst/>
            <a:cxnLst/>
            <a:rect l="l" t="t" r="r" b="b"/>
            <a:pathLst>
              <a:path w="34232" h="34903" extrusionOk="0">
                <a:moveTo>
                  <a:pt x="4031" y="1"/>
                </a:moveTo>
                <a:cubicBezTo>
                  <a:pt x="1832" y="1"/>
                  <a:pt x="1" y="1775"/>
                  <a:pt x="1" y="4033"/>
                </a:cubicBezTo>
                <a:lnTo>
                  <a:pt x="1" y="30869"/>
                </a:lnTo>
                <a:cubicBezTo>
                  <a:pt x="1" y="33167"/>
                  <a:pt x="1878" y="34903"/>
                  <a:pt x="4016" y="34903"/>
                </a:cubicBezTo>
                <a:cubicBezTo>
                  <a:pt x="4426" y="34903"/>
                  <a:pt x="4846" y="34839"/>
                  <a:pt x="5263" y="34703"/>
                </a:cubicBezTo>
                <a:lnTo>
                  <a:pt x="30790" y="26416"/>
                </a:lnTo>
                <a:cubicBezTo>
                  <a:pt x="33088" y="25666"/>
                  <a:pt x="34231" y="23059"/>
                  <a:pt x="33207" y="20868"/>
                </a:cubicBezTo>
                <a:cubicBezTo>
                  <a:pt x="27969" y="9700"/>
                  <a:pt x="17265" y="1604"/>
                  <a:pt x="4537" y="32"/>
                </a:cubicBezTo>
                <a:cubicBezTo>
                  <a:pt x="4367" y="11"/>
                  <a:pt x="4198" y="1"/>
                  <a:pt x="4031" y="1"/>
                </a:cubicBezTo>
                <a:close/>
              </a:path>
            </a:pathLst>
          </a:cu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5" name="Google Shape;100;p18">
            <a:extLst>
              <a:ext uri="{FF2B5EF4-FFF2-40B4-BE49-F238E27FC236}">
                <a16:creationId xmlns:a16="http://schemas.microsoft.com/office/drawing/2014/main" id="{3C7ABA1C-3776-580D-BD79-6E05B13424CD}"/>
              </a:ext>
            </a:extLst>
          </p:cNvPr>
          <p:cNvSpPr/>
          <p:nvPr/>
        </p:nvSpPr>
        <p:spPr>
          <a:xfrm>
            <a:off x="994333" y="3288139"/>
            <a:ext cx="2027484" cy="2203964"/>
          </a:xfrm>
          <a:custGeom>
            <a:avLst/>
            <a:gdLst/>
            <a:ahLst/>
            <a:cxnLst/>
            <a:rect l="l" t="t" r="r" b="b"/>
            <a:pathLst>
              <a:path w="35017" h="38065" extrusionOk="0">
                <a:moveTo>
                  <a:pt x="4620" y="0"/>
                </a:moveTo>
                <a:cubicBezTo>
                  <a:pt x="2749" y="0"/>
                  <a:pt x="1039" y="1311"/>
                  <a:pt x="667" y="3255"/>
                </a:cubicBezTo>
                <a:cubicBezTo>
                  <a:pt x="227" y="5506"/>
                  <a:pt x="1" y="7827"/>
                  <a:pt x="1" y="10197"/>
                </a:cubicBezTo>
                <a:cubicBezTo>
                  <a:pt x="1" y="20769"/>
                  <a:pt x="4489" y="30306"/>
                  <a:pt x="11645" y="36998"/>
                </a:cubicBezTo>
                <a:cubicBezTo>
                  <a:pt x="12417" y="37717"/>
                  <a:pt x="13390" y="38065"/>
                  <a:pt x="14358" y="38065"/>
                </a:cubicBezTo>
                <a:cubicBezTo>
                  <a:pt x="15601" y="38065"/>
                  <a:pt x="16838" y="37493"/>
                  <a:pt x="17634" y="36402"/>
                </a:cubicBezTo>
                <a:lnTo>
                  <a:pt x="33410" y="14685"/>
                </a:lnTo>
                <a:cubicBezTo>
                  <a:pt x="35017" y="12471"/>
                  <a:pt x="33993" y="9339"/>
                  <a:pt x="31385" y="8494"/>
                </a:cubicBezTo>
                <a:lnTo>
                  <a:pt x="5858" y="195"/>
                </a:lnTo>
                <a:cubicBezTo>
                  <a:pt x="5446" y="63"/>
                  <a:pt x="5029" y="0"/>
                  <a:pt x="462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8" name="Google Shape;103;p18">
            <a:extLst>
              <a:ext uri="{FF2B5EF4-FFF2-40B4-BE49-F238E27FC236}">
                <a16:creationId xmlns:a16="http://schemas.microsoft.com/office/drawing/2014/main" id="{977D8A26-7B00-4D8D-96C6-879F96350C2E}"/>
              </a:ext>
            </a:extLst>
          </p:cNvPr>
          <p:cNvSpPr/>
          <p:nvPr/>
        </p:nvSpPr>
        <p:spPr>
          <a:xfrm>
            <a:off x="2283544" y="3096551"/>
            <a:ext cx="1637296" cy="1637355"/>
          </a:xfrm>
          <a:custGeom>
            <a:avLst/>
            <a:gdLst/>
            <a:ahLst/>
            <a:cxnLst/>
            <a:rect l="l" t="t" r="r" b="b"/>
            <a:pathLst>
              <a:path w="28278" h="28279" extrusionOk="0">
                <a:moveTo>
                  <a:pt x="14145" y="1"/>
                </a:moveTo>
                <a:cubicBezTo>
                  <a:pt x="6334" y="1"/>
                  <a:pt x="0" y="6335"/>
                  <a:pt x="0" y="14146"/>
                </a:cubicBezTo>
                <a:cubicBezTo>
                  <a:pt x="0" y="21944"/>
                  <a:pt x="6334" y="28278"/>
                  <a:pt x="14145" y="28278"/>
                </a:cubicBezTo>
                <a:cubicBezTo>
                  <a:pt x="21943" y="28278"/>
                  <a:pt x="28278" y="21944"/>
                  <a:pt x="28278" y="14146"/>
                </a:cubicBezTo>
                <a:cubicBezTo>
                  <a:pt x="28278" y="6335"/>
                  <a:pt x="21943" y="1"/>
                  <a:pt x="1414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9" name="Google Shape;104;p18">
            <a:extLst>
              <a:ext uri="{FF2B5EF4-FFF2-40B4-BE49-F238E27FC236}">
                <a16:creationId xmlns:a16="http://schemas.microsoft.com/office/drawing/2014/main" id="{7A6D2A3A-8D8F-49B7-D682-D05CCBAC26AF}"/>
              </a:ext>
            </a:extLst>
          </p:cNvPr>
          <p:cNvSpPr/>
          <p:nvPr/>
        </p:nvSpPr>
        <p:spPr>
          <a:xfrm rot="-5400000">
            <a:off x="6216769" y="17452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0" name="Google Shape;105;p18">
            <a:extLst>
              <a:ext uri="{FF2B5EF4-FFF2-40B4-BE49-F238E27FC236}">
                <a16:creationId xmlns:a16="http://schemas.microsoft.com/office/drawing/2014/main" id="{06915F6E-E4B0-1104-EED1-64AD2DD10778}"/>
              </a:ext>
            </a:extLst>
          </p:cNvPr>
          <p:cNvSpPr/>
          <p:nvPr/>
        </p:nvSpPr>
        <p:spPr>
          <a:xfrm rot="-5400000">
            <a:off x="6216769" y="26070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Google Shape;106;p18">
            <a:extLst>
              <a:ext uri="{FF2B5EF4-FFF2-40B4-BE49-F238E27FC236}">
                <a16:creationId xmlns:a16="http://schemas.microsoft.com/office/drawing/2014/main" id="{95C9FCF6-FE01-D8D8-B791-DD75FC719CF1}"/>
              </a:ext>
            </a:extLst>
          </p:cNvPr>
          <p:cNvSpPr/>
          <p:nvPr/>
        </p:nvSpPr>
        <p:spPr>
          <a:xfrm rot="-5400000">
            <a:off x="6213433" y="3468800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2" name="Google Shape;107;p18">
            <a:extLst>
              <a:ext uri="{FF2B5EF4-FFF2-40B4-BE49-F238E27FC236}">
                <a16:creationId xmlns:a16="http://schemas.microsoft.com/office/drawing/2014/main" id="{D3944D20-DDC4-7097-C872-34B4D1F890C6}"/>
              </a:ext>
            </a:extLst>
          </p:cNvPr>
          <p:cNvSpPr/>
          <p:nvPr/>
        </p:nvSpPr>
        <p:spPr>
          <a:xfrm rot="-5400000">
            <a:off x="6213433" y="43305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3" name="Google Shape;108;p18">
            <a:extLst>
              <a:ext uri="{FF2B5EF4-FFF2-40B4-BE49-F238E27FC236}">
                <a16:creationId xmlns:a16="http://schemas.microsoft.com/office/drawing/2014/main" id="{A222C029-4043-FD19-3A37-CC28FA2AB4A2}"/>
              </a:ext>
            </a:extLst>
          </p:cNvPr>
          <p:cNvSpPr/>
          <p:nvPr/>
        </p:nvSpPr>
        <p:spPr>
          <a:xfrm rot="-5400000">
            <a:off x="6216769" y="51923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4" name="Google Shape;109;p18">
            <a:extLst>
              <a:ext uri="{FF2B5EF4-FFF2-40B4-BE49-F238E27FC236}">
                <a16:creationId xmlns:a16="http://schemas.microsoft.com/office/drawing/2014/main" id="{223977FD-1C80-9E3F-7F57-6A35F9EF2528}"/>
              </a:ext>
            </a:extLst>
          </p:cNvPr>
          <p:cNvSpPr/>
          <p:nvPr/>
        </p:nvSpPr>
        <p:spPr>
          <a:xfrm rot="5400000" flipH="1">
            <a:off x="9059037" y="-7813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5" name="Google Shape;110;p18">
            <a:extLst>
              <a:ext uri="{FF2B5EF4-FFF2-40B4-BE49-F238E27FC236}">
                <a16:creationId xmlns:a16="http://schemas.microsoft.com/office/drawing/2014/main" id="{BD4FE439-D370-8B6B-B4D1-A75504E9D069}"/>
              </a:ext>
            </a:extLst>
          </p:cNvPr>
          <p:cNvSpPr/>
          <p:nvPr/>
        </p:nvSpPr>
        <p:spPr>
          <a:xfrm rot="5400000" flipH="1">
            <a:off x="9059037" y="777440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6" name="Google Shape;111;p18">
            <a:extLst>
              <a:ext uri="{FF2B5EF4-FFF2-40B4-BE49-F238E27FC236}">
                <a16:creationId xmlns:a16="http://schemas.microsoft.com/office/drawing/2014/main" id="{19AACE7F-6ACD-AA89-3A9C-D1DD271E12D8}"/>
              </a:ext>
            </a:extLst>
          </p:cNvPr>
          <p:cNvSpPr/>
          <p:nvPr/>
        </p:nvSpPr>
        <p:spPr>
          <a:xfrm rot="5400000" flipH="1">
            <a:off x="9077800" y="1639197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7" name="Google Shape;112;p18">
            <a:extLst>
              <a:ext uri="{FF2B5EF4-FFF2-40B4-BE49-F238E27FC236}">
                <a16:creationId xmlns:a16="http://schemas.microsoft.com/office/drawing/2014/main" id="{A8FF45A2-4D1F-F9F0-032B-B3FDF50BF823}"/>
              </a:ext>
            </a:extLst>
          </p:cNvPr>
          <p:cNvSpPr/>
          <p:nvPr/>
        </p:nvSpPr>
        <p:spPr>
          <a:xfrm rot="5400000" flipH="1">
            <a:off x="9077800" y="250095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8" name="Google Shape;113;p18">
            <a:extLst>
              <a:ext uri="{FF2B5EF4-FFF2-40B4-BE49-F238E27FC236}">
                <a16:creationId xmlns:a16="http://schemas.microsoft.com/office/drawing/2014/main" id="{1C38A163-89F2-B35B-B8E2-9B8492DD67FE}"/>
              </a:ext>
            </a:extLst>
          </p:cNvPr>
          <p:cNvSpPr/>
          <p:nvPr/>
        </p:nvSpPr>
        <p:spPr>
          <a:xfrm rot="5400000" flipH="1">
            <a:off x="9059037" y="3349328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9" name="Google Shape;114;p18">
            <a:extLst>
              <a:ext uri="{FF2B5EF4-FFF2-40B4-BE49-F238E27FC236}">
                <a16:creationId xmlns:a16="http://schemas.microsoft.com/office/drawing/2014/main" id="{F30B629F-E5FA-AF08-9B57-188EAB57F1E9}"/>
              </a:ext>
            </a:extLst>
          </p:cNvPr>
          <p:cNvSpPr txBox="1"/>
          <p:nvPr/>
        </p:nvSpPr>
        <p:spPr>
          <a:xfrm>
            <a:off x="8290560" y="1841717"/>
            <a:ext cx="175009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roduction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0" name="Google Shape;115;p18">
            <a:extLst>
              <a:ext uri="{FF2B5EF4-FFF2-40B4-BE49-F238E27FC236}">
                <a16:creationId xmlns:a16="http://schemas.microsoft.com/office/drawing/2014/main" id="{AEFDA7B7-E9AB-3411-C526-358D3C928528}"/>
              </a:ext>
            </a:extLst>
          </p:cNvPr>
          <p:cNvSpPr txBox="1"/>
          <p:nvPr/>
        </p:nvSpPr>
        <p:spPr>
          <a:xfrm>
            <a:off x="7744850" y="2731132"/>
            <a:ext cx="263698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terature Review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1" name="Google Shape;116;p18">
            <a:extLst>
              <a:ext uri="{FF2B5EF4-FFF2-40B4-BE49-F238E27FC236}">
                <a16:creationId xmlns:a16="http://schemas.microsoft.com/office/drawing/2014/main" id="{37AE1A59-BE62-16AB-81D3-1579F8448899}"/>
              </a:ext>
            </a:extLst>
          </p:cNvPr>
          <p:cNvSpPr txBox="1"/>
          <p:nvPr/>
        </p:nvSpPr>
        <p:spPr>
          <a:xfrm>
            <a:off x="8108958" y="3595942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nalysis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2" name="Google Shape;117;p18">
            <a:extLst>
              <a:ext uri="{FF2B5EF4-FFF2-40B4-BE49-F238E27FC236}">
                <a16:creationId xmlns:a16="http://schemas.microsoft.com/office/drawing/2014/main" id="{37B56600-9A38-EB9E-611A-5946BD8EDD56}"/>
              </a:ext>
            </a:extLst>
          </p:cNvPr>
          <p:cNvSpPr txBox="1"/>
          <p:nvPr/>
        </p:nvSpPr>
        <p:spPr>
          <a:xfrm>
            <a:off x="8087655" y="4427813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Implementation </a:t>
            </a:r>
          </a:p>
        </p:txBody>
      </p:sp>
      <p:sp>
        <p:nvSpPr>
          <p:cNvPr id="23" name="Google Shape;118;p18">
            <a:extLst>
              <a:ext uri="{FF2B5EF4-FFF2-40B4-BE49-F238E27FC236}">
                <a16:creationId xmlns:a16="http://schemas.microsoft.com/office/drawing/2014/main" id="{CDC48FA9-722A-DD35-4DBB-959464EFC573}"/>
              </a:ext>
            </a:extLst>
          </p:cNvPr>
          <p:cNvSpPr txBox="1"/>
          <p:nvPr/>
        </p:nvSpPr>
        <p:spPr>
          <a:xfrm>
            <a:off x="7988023" y="5259684"/>
            <a:ext cx="2240856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Testing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 </a:t>
            </a:r>
            <a:endParaRPr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grpSp>
        <p:nvGrpSpPr>
          <p:cNvPr id="24" name="Google Shape;119;p18">
            <a:extLst>
              <a:ext uri="{FF2B5EF4-FFF2-40B4-BE49-F238E27FC236}">
                <a16:creationId xmlns:a16="http://schemas.microsoft.com/office/drawing/2014/main" id="{21CD0293-5DDB-EA83-9BB4-CD6874CC8002}"/>
              </a:ext>
            </a:extLst>
          </p:cNvPr>
          <p:cNvGrpSpPr/>
          <p:nvPr/>
        </p:nvGrpSpPr>
        <p:grpSpPr>
          <a:xfrm>
            <a:off x="3673621" y="2538972"/>
            <a:ext cx="507191" cy="484157"/>
            <a:chOff x="4126815" y="2760704"/>
            <a:chExt cx="380393" cy="363118"/>
          </a:xfrm>
        </p:grpSpPr>
        <p:sp>
          <p:nvSpPr>
            <p:cNvPr id="25" name="Google Shape;120;p18">
              <a:extLst>
                <a:ext uri="{FF2B5EF4-FFF2-40B4-BE49-F238E27FC236}">
                  <a16:creationId xmlns:a16="http://schemas.microsoft.com/office/drawing/2014/main" id="{7D635ED8-FAC7-476C-C827-E0BD121F0094}"/>
                </a:ext>
              </a:extLst>
            </p:cNvPr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21;p18">
              <a:extLst>
                <a:ext uri="{FF2B5EF4-FFF2-40B4-BE49-F238E27FC236}">
                  <a16:creationId xmlns:a16="http://schemas.microsoft.com/office/drawing/2014/main" id="{B3991A09-E9B2-A6FC-4F43-706677782649}"/>
                </a:ext>
              </a:extLst>
            </p:cNvPr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" name="Google Shape;122;p18">
              <a:extLst>
                <a:ext uri="{FF2B5EF4-FFF2-40B4-BE49-F238E27FC236}">
                  <a16:creationId xmlns:a16="http://schemas.microsoft.com/office/drawing/2014/main" id="{FD05C2CE-3DD7-6C64-84FC-DFAC0353AA7A}"/>
                </a:ext>
              </a:extLst>
            </p:cNvPr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8" name="Google Shape;123;p18">
              <a:extLst>
                <a:ext uri="{FF2B5EF4-FFF2-40B4-BE49-F238E27FC236}">
                  <a16:creationId xmlns:a16="http://schemas.microsoft.com/office/drawing/2014/main" id="{7BF4113E-6DEE-2CCF-A3C5-4A49494B27CE}"/>
                </a:ext>
              </a:extLst>
            </p:cNvPr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grpSp>
        <p:nvGrpSpPr>
          <p:cNvPr id="40" name="Google Shape;135;p18">
            <a:extLst>
              <a:ext uri="{FF2B5EF4-FFF2-40B4-BE49-F238E27FC236}">
                <a16:creationId xmlns:a16="http://schemas.microsoft.com/office/drawing/2014/main" id="{578BB3BD-9F3A-A46E-BA56-9EBB5CE55B20}"/>
              </a:ext>
            </a:extLst>
          </p:cNvPr>
          <p:cNvGrpSpPr/>
          <p:nvPr/>
        </p:nvGrpSpPr>
        <p:grpSpPr>
          <a:xfrm>
            <a:off x="1493215" y="4016961"/>
            <a:ext cx="440040" cy="641603"/>
            <a:chOff x="7127716" y="4279432"/>
            <a:chExt cx="248254" cy="361942"/>
          </a:xfrm>
        </p:grpSpPr>
        <p:sp>
          <p:nvSpPr>
            <p:cNvPr id="41" name="Google Shape;136;p18">
              <a:extLst>
                <a:ext uri="{FF2B5EF4-FFF2-40B4-BE49-F238E27FC236}">
                  <a16:creationId xmlns:a16="http://schemas.microsoft.com/office/drawing/2014/main" id="{787D6981-730F-F738-7F9F-BFFF17A179CA}"/>
                </a:ext>
              </a:extLst>
            </p:cNvPr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2" name="Google Shape;137;p18">
              <a:extLst>
                <a:ext uri="{FF2B5EF4-FFF2-40B4-BE49-F238E27FC236}">
                  <a16:creationId xmlns:a16="http://schemas.microsoft.com/office/drawing/2014/main" id="{40AD1698-7623-FE0E-7639-DDC35BAA6726}"/>
                </a:ext>
              </a:extLst>
            </p:cNvPr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43" name="Google Shape;138;p18">
              <a:extLst>
                <a:ext uri="{FF2B5EF4-FFF2-40B4-BE49-F238E27FC236}">
                  <a16:creationId xmlns:a16="http://schemas.microsoft.com/office/drawing/2014/main" id="{3661DB6C-F054-4E73-654F-9B89D3996BA5}"/>
                </a:ext>
              </a:extLst>
            </p:cNvPr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4" name="Google Shape;139;p18">
              <a:extLst>
                <a:ext uri="{FF2B5EF4-FFF2-40B4-BE49-F238E27FC236}">
                  <a16:creationId xmlns:a16="http://schemas.microsoft.com/office/drawing/2014/main" id="{CD5409ED-250C-CAB9-570C-3CDC156AAB1F}"/>
                </a:ext>
              </a:extLst>
            </p:cNvPr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5" name="Google Shape;140;p18">
              <a:extLst>
                <a:ext uri="{FF2B5EF4-FFF2-40B4-BE49-F238E27FC236}">
                  <a16:creationId xmlns:a16="http://schemas.microsoft.com/office/drawing/2014/main" id="{261B5638-043F-884D-DCE8-E3AD55AB3EA2}"/>
                </a:ext>
              </a:extLst>
            </p:cNvPr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6" name="Google Shape;141;p18">
              <a:extLst>
                <a:ext uri="{FF2B5EF4-FFF2-40B4-BE49-F238E27FC236}">
                  <a16:creationId xmlns:a16="http://schemas.microsoft.com/office/drawing/2014/main" id="{FEA76E3B-14F9-0E5B-8A98-CF2269C90035}"/>
                </a:ext>
              </a:extLst>
            </p:cNvPr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7" name="Google Shape;142;p18">
              <a:extLst>
                <a:ext uri="{FF2B5EF4-FFF2-40B4-BE49-F238E27FC236}">
                  <a16:creationId xmlns:a16="http://schemas.microsoft.com/office/drawing/2014/main" id="{081706E8-5D53-D00E-5F9D-13D96D242AB0}"/>
                </a:ext>
              </a:extLst>
            </p:cNvPr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8" name="Google Shape;143;p18">
              <a:extLst>
                <a:ext uri="{FF2B5EF4-FFF2-40B4-BE49-F238E27FC236}">
                  <a16:creationId xmlns:a16="http://schemas.microsoft.com/office/drawing/2014/main" id="{D90E6C21-EBD8-C653-9882-2CBC61EB4831}"/>
                </a:ext>
              </a:extLst>
            </p:cNvPr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9" name="Google Shape;144;p18">
              <a:extLst>
                <a:ext uri="{FF2B5EF4-FFF2-40B4-BE49-F238E27FC236}">
                  <a16:creationId xmlns:a16="http://schemas.microsoft.com/office/drawing/2014/main" id="{F32A8B6F-7729-6F58-7EF6-73F3381AADF6}"/>
                </a:ext>
              </a:extLst>
            </p:cNvPr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50" name="Google Shape;145;p18">
            <a:extLst>
              <a:ext uri="{FF2B5EF4-FFF2-40B4-BE49-F238E27FC236}">
                <a16:creationId xmlns:a16="http://schemas.microsoft.com/office/drawing/2014/main" id="{A6061654-CB4E-4227-B541-DB8026074CF9}"/>
              </a:ext>
            </a:extLst>
          </p:cNvPr>
          <p:cNvSpPr txBox="1">
            <a:spLocks/>
          </p:cNvSpPr>
          <p:nvPr/>
        </p:nvSpPr>
        <p:spPr>
          <a:xfrm>
            <a:off x="2254786" y="3311437"/>
            <a:ext cx="1705960" cy="1117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HRM</a:t>
            </a:r>
          </a:p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Functions</a:t>
            </a:r>
          </a:p>
        </p:txBody>
      </p:sp>
      <p:sp>
        <p:nvSpPr>
          <p:cNvPr id="51" name="Google Shape;146;p18">
            <a:extLst>
              <a:ext uri="{FF2B5EF4-FFF2-40B4-BE49-F238E27FC236}">
                <a16:creationId xmlns:a16="http://schemas.microsoft.com/office/drawing/2014/main" id="{6594B6DB-4B31-1B27-0967-E4D863EF42B6}"/>
              </a:ext>
            </a:extLst>
          </p:cNvPr>
          <p:cNvSpPr txBox="1">
            <a:spLocks/>
          </p:cNvSpPr>
          <p:nvPr/>
        </p:nvSpPr>
        <p:spPr>
          <a:xfrm>
            <a:off x="6092632" y="1810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1</a:t>
            </a:r>
          </a:p>
        </p:txBody>
      </p:sp>
      <p:sp>
        <p:nvSpPr>
          <p:cNvPr id="52" name="Google Shape;147;p18">
            <a:extLst>
              <a:ext uri="{FF2B5EF4-FFF2-40B4-BE49-F238E27FC236}">
                <a16:creationId xmlns:a16="http://schemas.microsoft.com/office/drawing/2014/main" id="{71D86DE8-BF51-B6B5-F177-8C728FC82E4D}"/>
              </a:ext>
            </a:extLst>
          </p:cNvPr>
          <p:cNvSpPr txBox="1">
            <a:spLocks/>
          </p:cNvSpPr>
          <p:nvPr/>
        </p:nvSpPr>
        <p:spPr>
          <a:xfrm>
            <a:off x="6099360" y="2682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</a:p>
        </p:txBody>
      </p:sp>
      <p:sp>
        <p:nvSpPr>
          <p:cNvPr id="53" name="Google Shape;148;p18">
            <a:extLst>
              <a:ext uri="{FF2B5EF4-FFF2-40B4-BE49-F238E27FC236}">
                <a16:creationId xmlns:a16="http://schemas.microsoft.com/office/drawing/2014/main" id="{6F279486-D906-37EA-1A61-94FEB59A024F}"/>
              </a:ext>
            </a:extLst>
          </p:cNvPr>
          <p:cNvSpPr txBox="1">
            <a:spLocks/>
          </p:cNvSpPr>
          <p:nvPr/>
        </p:nvSpPr>
        <p:spPr>
          <a:xfrm>
            <a:off x="6099360" y="3544200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3</a:t>
            </a:r>
          </a:p>
        </p:txBody>
      </p:sp>
      <p:sp>
        <p:nvSpPr>
          <p:cNvPr id="54" name="Google Shape;149;p18">
            <a:extLst>
              <a:ext uri="{FF2B5EF4-FFF2-40B4-BE49-F238E27FC236}">
                <a16:creationId xmlns:a16="http://schemas.microsoft.com/office/drawing/2014/main" id="{B3CFADB0-C8F6-D4FC-5353-131326CDCFD3}"/>
              </a:ext>
            </a:extLst>
          </p:cNvPr>
          <p:cNvSpPr txBox="1">
            <a:spLocks/>
          </p:cNvSpPr>
          <p:nvPr/>
        </p:nvSpPr>
        <p:spPr>
          <a:xfrm>
            <a:off x="6099360" y="4405967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4</a:t>
            </a:r>
          </a:p>
        </p:txBody>
      </p:sp>
      <p:sp>
        <p:nvSpPr>
          <p:cNvPr id="55" name="Google Shape;150;p18">
            <a:extLst>
              <a:ext uri="{FF2B5EF4-FFF2-40B4-BE49-F238E27FC236}">
                <a16:creationId xmlns:a16="http://schemas.microsoft.com/office/drawing/2014/main" id="{CA57FCE2-3EAD-7158-DA15-A8D49C904838}"/>
              </a:ext>
            </a:extLst>
          </p:cNvPr>
          <p:cNvSpPr txBox="1">
            <a:spLocks/>
          </p:cNvSpPr>
          <p:nvPr/>
        </p:nvSpPr>
        <p:spPr>
          <a:xfrm>
            <a:off x="6099360" y="52677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2B7AA9-D72F-FFD7-185D-B5783289DECF}"/>
              </a:ext>
            </a:extLst>
          </p:cNvPr>
          <p:cNvSpPr txBox="1"/>
          <p:nvPr/>
        </p:nvSpPr>
        <p:spPr>
          <a:xfrm>
            <a:off x="4813316" y="285042"/>
            <a:ext cx="2148345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Agenda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6" descr="A cartoon character with a black background">
            <a:extLst>
              <a:ext uri="{FF2B5EF4-FFF2-40B4-BE49-F238E27FC236}">
                <a16:creationId xmlns:a16="http://schemas.microsoft.com/office/drawing/2014/main" id="{DA543D9B-F94F-8DD2-04BE-2CCC2F7219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648" y="76723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3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3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50" grpId="0"/>
      <p:bldP spid="51" grpId="0"/>
      <p:bldP spid="52" grpId="0"/>
      <p:bldP spid="53" grpId="0"/>
      <p:bldP spid="54" grpId="0"/>
      <p:bldP spid="5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B4A3E9C-DE56-B481-F46F-CB343D951F14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A1C6340-E3BD-AFE8-BB58-F1C6E8F5ED3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50740C-F538-9F41-21C0-318A4FCF639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4">
            <a:extLst>
              <a:ext uri="{FF2B5EF4-FFF2-40B4-BE49-F238E27FC236}">
                <a16:creationId xmlns:a16="http://schemas.microsoft.com/office/drawing/2014/main" id="{C43F0D26-FE22-B0A1-9DAE-DA70DB44FFEF}"/>
              </a:ext>
            </a:extLst>
          </p:cNvPr>
          <p:cNvSpPr/>
          <p:nvPr/>
        </p:nvSpPr>
        <p:spPr>
          <a:xfrm>
            <a:off x="32653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5</a:t>
            </a:r>
          </a:p>
        </p:txBody>
      </p:sp>
      <p:sp>
        <p:nvSpPr>
          <p:cNvPr id="8" name="شكل حر: شكل 6">
            <a:extLst>
              <a:ext uri="{FF2B5EF4-FFF2-40B4-BE49-F238E27FC236}">
                <a16:creationId xmlns:a16="http://schemas.microsoft.com/office/drawing/2014/main" id="{9C8AD045-E23A-74A1-C21F-83A02D00B0AE}"/>
              </a:ext>
            </a:extLst>
          </p:cNvPr>
          <p:cNvSpPr/>
          <p:nvPr/>
        </p:nvSpPr>
        <p:spPr>
          <a:xfrm>
            <a:off x="69837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pic>
        <p:nvPicPr>
          <p:cNvPr id="9" name="صورة 5">
            <a:extLst>
              <a:ext uri="{FF2B5EF4-FFF2-40B4-BE49-F238E27FC236}">
                <a16:creationId xmlns:a16="http://schemas.microsoft.com/office/drawing/2014/main" id="{AC952BB5-B933-3E89-F5C9-52C552D55C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5" t="6267" r="10560" b="6697"/>
          <a:stretch/>
        </p:blipFill>
        <p:spPr>
          <a:xfrm>
            <a:off x="3824748" y="887361"/>
            <a:ext cx="8040718" cy="508327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367EB03-C067-B77B-F060-B542926E1CD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91125C19-6C03-8B95-AB01-324E70CF5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522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69320B30-5BB1-63E1-83A2-000639FD8615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F628DEB-906E-3981-30E6-E75ECDA5CA6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EF8C89-047F-8604-8769-842AAA0FC3B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7">
            <a:extLst>
              <a:ext uri="{FF2B5EF4-FFF2-40B4-BE49-F238E27FC236}">
                <a16:creationId xmlns:a16="http://schemas.microsoft.com/office/drawing/2014/main" id="{FD66AD01-CBBD-A170-6E3D-93E1EDF64FBA}"/>
              </a:ext>
            </a:extLst>
          </p:cNvPr>
          <p:cNvSpPr/>
          <p:nvPr/>
        </p:nvSpPr>
        <p:spPr>
          <a:xfrm>
            <a:off x="35435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6</a:t>
            </a:r>
          </a:p>
        </p:txBody>
      </p:sp>
      <p:sp>
        <p:nvSpPr>
          <p:cNvPr id="9" name="شكل حر: شكل 8">
            <a:extLst>
              <a:ext uri="{FF2B5EF4-FFF2-40B4-BE49-F238E27FC236}">
                <a16:creationId xmlns:a16="http://schemas.microsoft.com/office/drawing/2014/main" id="{62393157-6D07-9363-D70D-DFABF64FBCE3}"/>
              </a:ext>
            </a:extLst>
          </p:cNvPr>
          <p:cNvSpPr/>
          <p:nvPr/>
        </p:nvSpPr>
        <p:spPr>
          <a:xfrm>
            <a:off x="72619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ogin Page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E031A7E5-49A2-BFF2-4A99-312FA0F4FD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" r="84"/>
          <a:stretch/>
        </p:blipFill>
        <p:spPr>
          <a:xfrm>
            <a:off x="4096828" y="506246"/>
            <a:ext cx="7811432" cy="58280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CDA62524-5F4B-94DB-5C30-C264B504A222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EAFAB280-070C-EE6F-FDF3-A316D6D1CB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5375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39E23D75-4C1C-36F2-27F4-C4CBB3446555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91F6BD8-A0C3-1A9A-38AE-CCE3419C35A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C9DF896-1A7C-73B8-75A8-4FEAABA2C93A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0">
            <a:extLst>
              <a:ext uri="{FF2B5EF4-FFF2-40B4-BE49-F238E27FC236}">
                <a16:creationId xmlns:a16="http://schemas.microsoft.com/office/drawing/2014/main" id="{4C750FF0-6297-B449-D653-C930769D1B3D}"/>
              </a:ext>
            </a:extLst>
          </p:cNvPr>
          <p:cNvSpPr/>
          <p:nvPr/>
        </p:nvSpPr>
        <p:spPr>
          <a:xfrm>
            <a:off x="23597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7</a:t>
            </a:r>
          </a:p>
        </p:txBody>
      </p:sp>
      <p:sp>
        <p:nvSpPr>
          <p:cNvPr id="9" name="شكل حر: شكل 11">
            <a:extLst>
              <a:ext uri="{FF2B5EF4-FFF2-40B4-BE49-F238E27FC236}">
                <a16:creationId xmlns:a16="http://schemas.microsoft.com/office/drawing/2014/main" id="{F0683C1D-25CD-5BA4-473E-4303E332271B}"/>
              </a:ext>
            </a:extLst>
          </p:cNvPr>
          <p:cNvSpPr/>
          <p:nvPr/>
        </p:nvSpPr>
        <p:spPr>
          <a:xfrm>
            <a:off x="60781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eker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0BD1948C-A2E2-7D48-EBE1-E50B16145F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r="47"/>
          <a:stretch/>
        </p:blipFill>
        <p:spPr>
          <a:xfrm>
            <a:off x="3632078" y="428650"/>
            <a:ext cx="8225420" cy="600069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28E74F26-4DCE-3692-F141-2636EFB21EB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50152395-1D8E-6E85-17A4-7A1625771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48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261FC3F-D6BD-CF05-A98B-C911FC7DF7AB}"/>
              </a:ext>
            </a:extLst>
          </p:cNvPr>
          <p:cNvGrpSpPr/>
          <p:nvPr/>
        </p:nvGrpSpPr>
        <p:grpSpPr>
          <a:xfrm>
            <a:off x="0" y="4163591"/>
            <a:ext cx="342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643D383-4272-51F5-F15C-13535892F83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8E89683-6857-F5C6-D6FF-F7C92FF454D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0B4EAC5-09D3-7640-A0E4-33A32F3A6AF0}"/>
              </a:ext>
            </a:extLst>
          </p:cNvPr>
          <p:cNvSpPr/>
          <p:nvPr/>
        </p:nvSpPr>
        <p:spPr>
          <a:xfrm>
            <a:off x="26754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436F225-3B32-D834-1E1F-40297CE4EE90}"/>
              </a:ext>
            </a:extLst>
          </p:cNvPr>
          <p:cNvSpPr/>
          <p:nvPr/>
        </p:nvSpPr>
        <p:spPr>
          <a:xfrm>
            <a:off x="639375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rk Mod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2616CC38-37C0-7B0B-F6A1-D329F26A03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" r="-295"/>
          <a:stretch/>
        </p:blipFill>
        <p:spPr>
          <a:xfrm>
            <a:off x="3610669" y="545331"/>
            <a:ext cx="8029070" cy="576733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6E23AE3-7C9B-B07A-733C-8B5BFC7F49E0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D0678C1-66DB-F978-3B87-C08A8BFEE0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26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3B1ACAB-E8EC-EE08-5212-29A87E3196C7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2C80650-E85B-2DAE-F412-3C27C61CBE4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E4BFE6-FCCC-29CE-BD19-FC919B608A9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DF972D28-9A5A-CE3C-892D-F89085C4CFD9}"/>
              </a:ext>
            </a:extLst>
          </p:cNvPr>
          <p:cNvSpPr/>
          <p:nvPr/>
        </p:nvSpPr>
        <p:spPr>
          <a:xfrm>
            <a:off x="32597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8DA8D791-400F-65D6-06DB-658B2349AD22}"/>
              </a:ext>
            </a:extLst>
          </p:cNvPr>
          <p:cNvSpPr/>
          <p:nvPr/>
        </p:nvSpPr>
        <p:spPr>
          <a:xfrm>
            <a:off x="69781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53ADE502-2CE0-500B-FFF1-6E7061B2B7B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03" b="-3059"/>
          <a:stretch/>
        </p:blipFill>
        <p:spPr>
          <a:xfrm>
            <a:off x="5181600" y="323484"/>
            <a:ext cx="6486711" cy="55955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C23AC49-0EB4-1111-556C-2600D840678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BA81AD10-CB2D-C27D-6318-A58502FF8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440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2FC0CBD-BF69-9F24-3313-BFDE432AC03A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EC3FAB2-5067-0B0F-DA4D-3F9FFF2F202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613740-21F6-17EC-6C78-B864C0168EC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مستطيل: زاوية واحدة مستديرة 10">
            <a:extLst>
              <a:ext uri="{FF2B5EF4-FFF2-40B4-BE49-F238E27FC236}">
                <a16:creationId xmlns:a16="http://schemas.microsoft.com/office/drawing/2014/main" id="{B37F4BDF-FC4C-5B55-ED30-662508084219}"/>
              </a:ext>
            </a:extLst>
          </p:cNvPr>
          <p:cNvSpPr/>
          <p:nvPr/>
        </p:nvSpPr>
        <p:spPr>
          <a:xfrm>
            <a:off x="254971" y="3412416"/>
            <a:ext cx="463623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0</a:t>
            </a:r>
          </a:p>
        </p:txBody>
      </p:sp>
      <p:sp>
        <p:nvSpPr>
          <p:cNvPr id="12" name="شكل حر: شكل 11">
            <a:extLst>
              <a:ext uri="{FF2B5EF4-FFF2-40B4-BE49-F238E27FC236}">
                <a16:creationId xmlns:a16="http://schemas.microsoft.com/office/drawing/2014/main" id="{597E40AB-5AEC-F790-5C60-38F5B95FB6FD}"/>
              </a:ext>
            </a:extLst>
          </p:cNvPr>
          <p:cNvSpPr/>
          <p:nvPr/>
        </p:nvSpPr>
        <p:spPr>
          <a:xfrm>
            <a:off x="619433" y="3412414"/>
            <a:ext cx="276286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Find job locally</a:t>
            </a:r>
          </a:p>
        </p:txBody>
      </p:sp>
      <p:pic>
        <p:nvPicPr>
          <p:cNvPr id="13" name="صورة 3">
            <a:extLst>
              <a:ext uri="{FF2B5EF4-FFF2-40B4-BE49-F238E27FC236}">
                <a16:creationId xmlns:a16="http://schemas.microsoft.com/office/drawing/2014/main" id="{B847ECC5-61A6-7B43-8B8F-04FEEBF43B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09" r="48"/>
          <a:stretch/>
        </p:blipFill>
        <p:spPr>
          <a:xfrm>
            <a:off x="4053708" y="509952"/>
            <a:ext cx="7518860" cy="58049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5D117814-B381-730B-FBDE-811A9D7C0A58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3806BA-1AF7-73EA-CBDD-116AD139D1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60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C7D1D0B-CF7F-6AD6-B2CE-9A4246784221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4C9CBD8E-C14C-AA4B-5B8A-D038E34FA000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E8D57B-0BB0-D93F-3F44-67799CA5E7C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8">
            <a:extLst>
              <a:ext uri="{FF2B5EF4-FFF2-40B4-BE49-F238E27FC236}">
                <a16:creationId xmlns:a16="http://schemas.microsoft.com/office/drawing/2014/main" id="{93AD5F6F-2124-5BBD-1725-0E63AA4CCE14}"/>
              </a:ext>
            </a:extLst>
          </p:cNvPr>
          <p:cNvSpPr/>
          <p:nvPr/>
        </p:nvSpPr>
        <p:spPr>
          <a:xfrm>
            <a:off x="224859" y="3429001"/>
            <a:ext cx="44853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1</a:t>
            </a:r>
          </a:p>
        </p:txBody>
      </p:sp>
      <p:sp>
        <p:nvSpPr>
          <p:cNvPr id="10" name="شكل حر: شكل 9">
            <a:extLst>
              <a:ext uri="{FF2B5EF4-FFF2-40B4-BE49-F238E27FC236}">
                <a16:creationId xmlns:a16="http://schemas.microsoft.com/office/drawing/2014/main" id="{3D937438-E0B4-BFEA-229B-56ECA3F329A6}"/>
              </a:ext>
            </a:extLst>
          </p:cNvPr>
          <p:cNvSpPr/>
          <p:nvPr/>
        </p:nvSpPr>
        <p:spPr>
          <a:xfrm>
            <a:off x="596695" y="3429000"/>
            <a:ext cx="2757558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lobally</a:t>
            </a:r>
          </a:p>
        </p:txBody>
      </p:sp>
      <p:pic>
        <p:nvPicPr>
          <p:cNvPr id="11" name="صورة 3">
            <a:extLst>
              <a:ext uri="{FF2B5EF4-FFF2-40B4-BE49-F238E27FC236}">
                <a16:creationId xmlns:a16="http://schemas.microsoft.com/office/drawing/2014/main" id="{1DE23FBC-C9B7-078D-CDD9-D13788ACCA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r="22"/>
          <a:stretch/>
        </p:blipFill>
        <p:spPr>
          <a:xfrm>
            <a:off x="3715240" y="391886"/>
            <a:ext cx="8044141" cy="581451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B1D87C64-F242-4768-52F3-655401286EF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53C46277-D0FB-CFF9-0DF5-BA4100E09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28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2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0" t="-896" r="-216" b="273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525419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/>
          <a:stretch/>
        </p:blipFill>
        <p:spPr>
          <a:xfrm>
            <a:off x="3775587" y="655062"/>
            <a:ext cx="807831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683044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46BE23-4B51-555A-2BE3-E656E8CF3DE6}"/>
              </a:ext>
            </a:extLst>
          </p:cNvPr>
          <p:cNvGrpSpPr/>
          <p:nvPr/>
        </p:nvGrpSpPr>
        <p:grpSpPr>
          <a:xfrm>
            <a:off x="223142" y="4173423"/>
            <a:ext cx="324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5A8CACE-766B-9784-E6FE-D86E57BC7A1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421D071-8FDD-048C-4380-14E5B15420A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صورة 3">
            <a:extLst>
              <a:ext uri="{FF2B5EF4-FFF2-40B4-BE49-F238E27FC236}">
                <a16:creationId xmlns:a16="http://schemas.microsoft.com/office/drawing/2014/main" id="{938D6153-0DFD-6E39-42F0-0BAF82EA58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1" r="36"/>
          <a:stretch/>
        </p:blipFill>
        <p:spPr>
          <a:xfrm>
            <a:off x="3678825" y="504929"/>
            <a:ext cx="7883912" cy="58481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3" name="مستطيل: زاوية واحدة مستديرة 12">
            <a:extLst>
              <a:ext uri="{FF2B5EF4-FFF2-40B4-BE49-F238E27FC236}">
                <a16:creationId xmlns:a16="http://schemas.microsoft.com/office/drawing/2014/main" id="{BD3C4C22-EFEA-4EAA-E6F5-BDB1D190C538}"/>
              </a:ext>
            </a:extLst>
          </p:cNvPr>
          <p:cNvSpPr/>
          <p:nvPr/>
        </p:nvSpPr>
        <p:spPr>
          <a:xfrm>
            <a:off x="245805" y="3429001"/>
            <a:ext cx="58993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4</a:t>
            </a:r>
          </a:p>
        </p:txBody>
      </p:sp>
      <p:sp>
        <p:nvSpPr>
          <p:cNvPr id="14" name="شكل حر: شكل 13">
            <a:extLst>
              <a:ext uri="{FF2B5EF4-FFF2-40B4-BE49-F238E27FC236}">
                <a16:creationId xmlns:a16="http://schemas.microsoft.com/office/drawing/2014/main" id="{B3048576-3F11-8656-F6E3-83E82F23B56C}"/>
              </a:ext>
            </a:extLst>
          </p:cNvPr>
          <p:cNvSpPr/>
          <p:nvPr/>
        </p:nvSpPr>
        <p:spPr>
          <a:xfrm>
            <a:off x="700590" y="3429000"/>
            <a:ext cx="271583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CV review resul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</a:t>
            </a:r>
            <a:r>
              <a:rPr lang="en-US" sz="200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job seeke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0419BEE-92A0-AE29-682C-0F9AED77B33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BBC86585-8762-2E35-1719-10A6CD63E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132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A379F5-DFBE-8871-2739-8F3996991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AFC73F-02B8-B7EC-1748-3441976B8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E01BB-1370-2B1B-418C-C213C4312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FBB8FC-4400-FAFF-4D97-26A8933BF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C84E5A-0719-D943-A1C2-9860C0F75907}"/>
              </a:ext>
            </a:extLst>
          </p:cNvPr>
          <p:cNvSpPr txBox="1"/>
          <p:nvPr/>
        </p:nvSpPr>
        <p:spPr>
          <a:xfrm>
            <a:off x="791497" y="3105834"/>
            <a:ext cx="100766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</a:t>
            </a:r>
            <a:endParaRPr lang="ar-EG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4" name="Callout: Down Arrow 3">
            <a:extLst>
              <a:ext uri="{FF2B5EF4-FFF2-40B4-BE49-F238E27FC236}">
                <a16:creationId xmlns:a16="http://schemas.microsoft.com/office/drawing/2014/main" id="{02CE4110-E57F-131D-E157-34CA0BE9C6EC}"/>
              </a:ext>
            </a:extLst>
          </p:cNvPr>
          <p:cNvSpPr/>
          <p:nvPr/>
        </p:nvSpPr>
        <p:spPr>
          <a:xfrm>
            <a:off x="191729" y="204061"/>
            <a:ext cx="2089355" cy="1986116"/>
          </a:xfrm>
          <a:prstGeom prst="downArrow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6AB82DED-CC04-2F7D-02CE-99E1392D6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29" y="-16340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4680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5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e 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9" t="-638" r="145" b="638"/>
          <a:stretch/>
        </p:blipFill>
        <p:spPr>
          <a:xfrm>
            <a:off x="4080417" y="538863"/>
            <a:ext cx="777348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7691350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6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" r="-60"/>
          <a:stretch/>
        </p:blipFill>
        <p:spPr>
          <a:xfrm>
            <a:off x="3867907" y="458653"/>
            <a:ext cx="7540905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79740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7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Job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r="234"/>
          <a:stretch/>
        </p:blipFill>
        <p:spPr>
          <a:xfrm>
            <a:off x="3785419" y="546907"/>
            <a:ext cx="770849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845340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10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04181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HR (Admin)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r="41"/>
          <a:stretch/>
        </p:blipFill>
        <p:spPr>
          <a:xfrm>
            <a:off x="3785418" y="448820"/>
            <a:ext cx="8068486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782373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0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6" t="-1531" r="-114" b="1531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997410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1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con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03"/>
          <a:stretch/>
        </p:blipFill>
        <p:spPr>
          <a:xfrm>
            <a:off x="3867907" y="546907"/>
            <a:ext cx="766533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1495283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90818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(HR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39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1700042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R (Admin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52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260290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Demo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0507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ardrop 17">
            <a:extLst>
              <a:ext uri="{FF2B5EF4-FFF2-40B4-BE49-F238E27FC236}">
                <a16:creationId xmlns:a16="http://schemas.microsoft.com/office/drawing/2014/main" id="{A9E64AED-9C91-65F3-2EB4-8EDCD557571B}"/>
              </a:ext>
            </a:extLst>
          </p:cNvPr>
          <p:cNvSpPr/>
          <p:nvPr/>
        </p:nvSpPr>
        <p:spPr>
          <a:xfrm>
            <a:off x="6690360" y="0"/>
            <a:ext cx="5524500" cy="552450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13493392">
            <a:off x="252282" y="252378"/>
            <a:ext cx="1580697" cy="1756778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25" y="-49327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334298" y="2956197"/>
            <a:ext cx="608301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HRMS is an innovative solution poised to revolutionize the landscape of Human Resource Management through the integration of Artificial Intelligence (AI).</a:t>
            </a:r>
          </a:p>
          <a:p>
            <a:pPr algn="just"/>
            <a:endParaRPr lang="en-US" sz="2200" b="1" dirty="0">
              <a:effectLst>
                <a:glow rad="101600">
                  <a:schemeClr val="bg1">
                    <a:alpha val="4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 today's dynamic business environment, organizations grapple with the challenge of optimizing HR processes to meet the evolving needs of the workforc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3C0D5B-67AA-507A-483C-4DB67E384F07}"/>
              </a:ext>
            </a:extLst>
          </p:cNvPr>
          <p:cNvSpPr txBox="1"/>
          <p:nvPr/>
        </p:nvSpPr>
        <p:spPr>
          <a:xfrm>
            <a:off x="-78677" y="2334947"/>
            <a:ext cx="676903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Welcome to the unveiling of AI-EHRMS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DC595C-815A-48DC-A8D9-12FB4E7CBBA8}"/>
              </a:ext>
            </a:extLst>
          </p:cNvPr>
          <p:cNvSpPr/>
          <p:nvPr/>
        </p:nvSpPr>
        <p:spPr>
          <a:xfrm>
            <a:off x="6939826" y="261257"/>
            <a:ext cx="5001986" cy="50019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2" descr="Free photo ai chip artificial intelligence, future technology innovation">
            <a:extLst>
              <a:ext uri="{FF2B5EF4-FFF2-40B4-BE49-F238E27FC236}">
                <a16:creationId xmlns:a16="http://schemas.microsoft.com/office/drawing/2014/main" id="{8A13FEE2-2EEC-A274-0D0C-9CB500E1D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9826" y="261257"/>
            <a:ext cx="5001987" cy="4954677"/>
          </a:xfrm>
          <a:prstGeom prst="ellipse">
            <a:avLst/>
          </a:prstGeom>
          <a:ln w="63500" cap="rnd">
            <a:solidFill>
              <a:srgbClr val="32839C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14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8" grpId="0"/>
      <p:bldP spid="1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innnal">
            <a:hlinkClick r:id="" action="ppaction://media"/>
            <a:extLst>
              <a:ext uri="{FF2B5EF4-FFF2-40B4-BE49-F238E27FC236}">
                <a16:creationId xmlns:a16="http://schemas.microsoft.com/office/drawing/2014/main" id="{FA87FBD3-9D19-FFFB-4F28-6CB6FFA1C2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  <a:ln w="190500" cap="sq">
            <a:solidFill>
              <a:srgbClr val="F2705B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convex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23339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38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Testing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9263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8" b="-6395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526239"/>
              </p:ext>
            </p:extLst>
          </p:nvPr>
        </p:nvGraphicFramePr>
        <p:xfrm>
          <a:off x="166027" y="2309504"/>
          <a:ext cx="5062003" cy="4446001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Data is required ” message</a:t>
                      </a:r>
                      <a:endParaRPr lang="en-US" sz="1800" kern="10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 will be successful and redirect to login pag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37" r="12837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634" r="-78" b="-1347"/>
          <a:stretch/>
        </p:blipFill>
        <p:spPr>
          <a:xfrm>
            <a:off x="5703585" y="4827045"/>
            <a:ext cx="6261559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72575496"/>
                  </p:ext>
                </p:extLst>
              </p:nvPr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8355410"/>
                  </p:ext>
                </p:extLst>
              </p:nvPr>
            </p:nvGraphicFramePr>
            <p:xfrm>
              <a:off x="5698671" y="3205575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698671" y="3205575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6858417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1120612"/>
                  </p:ext>
                </p:extLst>
              </p:nvPr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710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0" b="11360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754491"/>
              </p:ext>
            </p:extLst>
          </p:nvPr>
        </p:nvGraphicFramePr>
        <p:xfrm>
          <a:off x="166027" y="2309504"/>
          <a:ext cx="5062003" cy="4385812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1844769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18659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Please provide email and password” Messag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In will be successful and redirect 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o his/her profi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" r="2431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" t="178" r="2547" b="2027"/>
          <a:stretch/>
        </p:blipFill>
        <p:spPr>
          <a:xfrm>
            <a:off x="5854890" y="4827045"/>
            <a:ext cx="5964071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76766782"/>
                  </p:ext>
                </p:extLst>
              </p:nvPr>
            </p:nvGraphicFramePr>
            <p:xfrm>
              <a:off x="5716876" y="3203867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716876" y="3203867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9213355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In by Job seeker 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009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3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241222"/>
              </p:ext>
            </p:extLst>
          </p:nvPr>
        </p:nvGraphicFramePr>
        <p:xfrm>
          <a:off x="165867" y="1719450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V Review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then select the CV file to review and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review results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" b="378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54501319"/>
                  </p:ext>
                </p:extLst>
              </p:nvPr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75607478"/>
                  </p:ext>
                </p:extLst>
              </p:nvPr>
            </p:nvGraphicFramePr>
            <p:xfrm>
              <a:off x="6095999" y="3944204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095999" y="3944204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view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878867"/>
              </p:ext>
            </p:extLst>
          </p:nvPr>
        </p:nvGraphicFramePr>
        <p:xfrm>
          <a:off x="165866" y="4552521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Find Job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your job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job from search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122698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3680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r="6004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296009"/>
              </p:ext>
            </p:extLst>
          </p:nvPr>
        </p:nvGraphicFramePr>
        <p:xfrm>
          <a:off x="165867" y="1719450"/>
          <a:ext cx="5395414" cy="2644304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100" dirty="0">
                          <a:solidFill>
                            <a:srgbClr val="000000"/>
                          </a:solidFill>
                          <a:effectLst/>
                        </a:rPr>
                        <a:t>Job Matching by </a:t>
                      </a:r>
                      <a:r>
                        <a:rPr lang="en-US" sz="18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R Admin</a:t>
                      </a:r>
                      <a:endParaRPr lang="en-US" sz="1600" b="1" kern="100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and select the CV file to match and add job description then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which displays the matching percentage between the CV and the job description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01031005"/>
                  </p:ext>
                </p:extLst>
              </p:nvPr>
            </p:nvGraphicFramePr>
            <p:xfrm>
              <a:off x="5595064" y="3918041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95064" y="3918041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(HR)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90882"/>
              </p:ext>
            </p:extLst>
          </p:nvPr>
        </p:nvGraphicFramePr>
        <p:xfrm>
          <a:off x="165866" y="4802515"/>
          <a:ext cx="5395414" cy="2013368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</a:rPr>
                        <a:t>Find Job seeker </a:t>
                      </a: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Admin)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an employe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 employee for your job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354714"/>
            <a:ext cx="3458718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seeker (BM) 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1934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Future work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9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7D241A8D-063D-C011-1675-0D29CA5FDE16}"/>
              </a:ext>
            </a:extLst>
          </p:cNvPr>
          <p:cNvSpPr/>
          <p:nvPr/>
        </p:nvSpPr>
        <p:spPr>
          <a:xfrm>
            <a:off x="2605305" y="433627"/>
            <a:ext cx="8483122" cy="867507"/>
          </a:xfrm>
          <a:prstGeom prst="rect">
            <a:avLst/>
          </a:prstGeom>
          <a:solidFill>
            <a:srgbClr val="9BBB5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90FFDA7-C4A9-7910-9B15-16EE2B1FD1C9}"/>
              </a:ext>
            </a:extLst>
          </p:cNvPr>
          <p:cNvSpPr/>
          <p:nvPr/>
        </p:nvSpPr>
        <p:spPr>
          <a:xfrm>
            <a:off x="6134835" y="1684772"/>
            <a:ext cx="4047031" cy="855785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99B7DF2-734F-AF58-5F74-CA4D7FCB8EC5}"/>
              </a:ext>
            </a:extLst>
          </p:cNvPr>
          <p:cNvSpPr/>
          <p:nvPr/>
        </p:nvSpPr>
        <p:spPr>
          <a:xfrm>
            <a:off x="6767790" y="2936723"/>
            <a:ext cx="3634524" cy="855785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8334CBE-267D-AFD5-A720-04BA64BA6BDD}"/>
              </a:ext>
            </a:extLst>
          </p:cNvPr>
          <p:cNvSpPr/>
          <p:nvPr/>
        </p:nvSpPr>
        <p:spPr>
          <a:xfrm>
            <a:off x="7191675" y="4203707"/>
            <a:ext cx="3423139" cy="855785"/>
          </a:xfrm>
          <a:prstGeom prst="rect">
            <a:avLst/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 2">
            <a:extLst>
              <a:ext uri="{FF2B5EF4-FFF2-40B4-BE49-F238E27FC236}">
                <a16:creationId xmlns:a16="http://schemas.microsoft.com/office/drawing/2014/main" id="{66144A5B-AF8D-6005-BB4D-06AC813D973A}"/>
              </a:ext>
            </a:extLst>
          </p:cNvPr>
          <p:cNvSpPr/>
          <p:nvPr/>
        </p:nvSpPr>
        <p:spPr>
          <a:xfrm>
            <a:off x="8509349" y="1289411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 13">
            <a:extLst>
              <a:ext uri="{FF2B5EF4-FFF2-40B4-BE49-F238E27FC236}">
                <a16:creationId xmlns:a16="http://schemas.microsoft.com/office/drawing/2014/main" id="{E3B49BEF-67B8-BEFE-7CEC-CABD1D299670}"/>
              </a:ext>
            </a:extLst>
          </p:cNvPr>
          <p:cNvSpPr/>
          <p:nvPr/>
        </p:nvSpPr>
        <p:spPr>
          <a:xfrm>
            <a:off x="7352086" y="2526415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 14">
            <a:extLst>
              <a:ext uri="{FF2B5EF4-FFF2-40B4-BE49-F238E27FC236}">
                <a16:creationId xmlns:a16="http://schemas.microsoft.com/office/drawing/2014/main" id="{960B2526-F358-810D-4A1C-546F29108A2F}"/>
              </a:ext>
            </a:extLst>
          </p:cNvPr>
          <p:cNvSpPr/>
          <p:nvPr/>
        </p:nvSpPr>
        <p:spPr>
          <a:xfrm>
            <a:off x="7627789" y="3783604"/>
            <a:ext cx="2579077" cy="423216"/>
          </a:xfrm>
          <a:prstGeom prst="parallelogram">
            <a:avLst>
              <a:gd name="adj" fmla="val 222143"/>
            </a:avLst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val 19">
            <a:extLst>
              <a:ext uri="{FF2B5EF4-FFF2-40B4-BE49-F238E27FC236}">
                <a16:creationId xmlns:a16="http://schemas.microsoft.com/office/drawing/2014/main" id="{B682B596-3747-3371-297B-537906ECC017}"/>
              </a:ext>
            </a:extLst>
          </p:cNvPr>
          <p:cNvSpPr/>
          <p:nvPr/>
        </p:nvSpPr>
        <p:spPr>
          <a:xfrm>
            <a:off x="5013800" y="60990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BE1B15F5-5D4E-05AA-CBE4-D86917515343}"/>
              </a:ext>
            </a:extLst>
          </p:cNvPr>
          <p:cNvSpPr/>
          <p:nvPr/>
        </p:nvSpPr>
        <p:spPr>
          <a:xfrm>
            <a:off x="6304458" y="183248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21">
            <a:extLst>
              <a:ext uri="{FF2B5EF4-FFF2-40B4-BE49-F238E27FC236}">
                <a16:creationId xmlns:a16="http://schemas.microsoft.com/office/drawing/2014/main" id="{D3F36636-C8C5-334E-FB77-152775D3C5E0}"/>
              </a:ext>
            </a:extLst>
          </p:cNvPr>
          <p:cNvSpPr/>
          <p:nvPr/>
        </p:nvSpPr>
        <p:spPr>
          <a:xfrm>
            <a:off x="6907259" y="309942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08E67278-0C5F-A777-7A24-2DF755A1D96E}"/>
              </a:ext>
            </a:extLst>
          </p:cNvPr>
          <p:cNvSpPr/>
          <p:nvPr/>
        </p:nvSpPr>
        <p:spPr>
          <a:xfrm>
            <a:off x="7340558" y="4357279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8B8F2258-BB6D-AE8A-0633-C0CD6FC79CEE}"/>
              </a:ext>
            </a:extLst>
          </p:cNvPr>
          <p:cNvSpPr/>
          <p:nvPr/>
        </p:nvSpPr>
        <p:spPr>
          <a:xfrm>
            <a:off x="5615862" y="686418"/>
            <a:ext cx="5525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FC041204-8FDB-7208-590E-592C31304AE4}"/>
              </a:ext>
            </a:extLst>
          </p:cNvPr>
          <p:cNvSpPr/>
          <p:nvPr/>
        </p:nvSpPr>
        <p:spPr>
          <a:xfrm>
            <a:off x="7021406" y="1792430"/>
            <a:ext cx="31604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51A1BA2-8127-EC33-9BCB-A46599E443D3}"/>
              </a:ext>
            </a:extLst>
          </p:cNvPr>
          <p:cNvSpPr/>
          <p:nvPr/>
        </p:nvSpPr>
        <p:spPr>
          <a:xfrm>
            <a:off x="7473506" y="3056786"/>
            <a:ext cx="2315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+mj-lt"/>
              <a:buAutoNum type="arabicPeriod" startAt="3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B2D35D-1065-E1F5-CFD3-6CAF11602A61}"/>
              </a:ext>
            </a:extLst>
          </p:cNvPr>
          <p:cNvSpPr/>
          <p:nvPr/>
        </p:nvSpPr>
        <p:spPr>
          <a:xfrm>
            <a:off x="7889197" y="4302226"/>
            <a:ext cx="2662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4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8737A2A8-FFB7-B3B0-4081-A3AA14AA6306}"/>
              </a:ext>
            </a:extLst>
          </p:cNvPr>
          <p:cNvSpPr/>
          <p:nvPr/>
        </p:nvSpPr>
        <p:spPr>
          <a:xfrm>
            <a:off x="2688109" y="618459"/>
            <a:ext cx="3308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Future Work:</a:t>
            </a:r>
          </a:p>
        </p:txBody>
      </p:sp>
      <p:pic>
        <p:nvPicPr>
          <p:cNvPr id="26" name="صورة 25">
            <a:extLst>
              <a:ext uri="{FF2B5EF4-FFF2-40B4-BE49-F238E27FC236}">
                <a16:creationId xmlns:a16="http://schemas.microsoft.com/office/drawing/2014/main" id="{19C10F64-C2E4-BE49-877C-0033048C9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0" y="1811294"/>
            <a:ext cx="548641" cy="548641"/>
          </a:xfrm>
          <a:prstGeom prst="rect">
            <a:avLst/>
          </a:prstGeom>
        </p:spPr>
      </p:pic>
      <p:pic>
        <p:nvPicPr>
          <p:cNvPr id="27" name="صورة 26" descr="صورة تحتوي على دائرة, الرسومات, لقطة شاشة, التلون&#10;&#10;تم إنشاء الوصف تلقائياً">
            <a:extLst>
              <a:ext uri="{FF2B5EF4-FFF2-40B4-BE49-F238E27FC236}">
                <a16:creationId xmlns:a16="http://schemas.microsoft.com/office/drawing/2014/main" id="{C850A6DA-C3D6-737C-63DE-A393312DF4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511" y="618459"/>
            <a:ext cx="548640" cy="548640"/>
          </a:xfrm>
          <a:prstGeom prst="rect">
            <a:avLst/>
          </a:prstGeom>
        </p:spPr>
      </p:pic>
      <p:pic>
        <p:nvPicPr>
          <p:cNvPr id="28" name="صورة 27" descr="صورة تحتوي على الرسومات, قصاصة فنية, التصميم, فن&#10;&#10;تم إنشاء الوصف تلقائياً">
            <a:extLst>
              <a:ext uri="{FF2B5EF4-FFF2-40B4-BE49-F238E27FC236}">
                <a16:creationId xmlns:a16="http://schemas.microsoft.com/office/drawing/2014/main" id="{383574DA-9956-AD38-B0C0-CC9A820CC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57" y="3123174"/>
            <a:ext cx="480835" cy="480835"/>
          </a:xfrm>
          <a:prstGeom prst="rect">
            <a:avLst/>
          </a:prstGeom>
        </p:spPr>
      </p:pic>
      <p:pic>
        <p:nvPicPr>
          <p:cNvPr id="29" name="صورة 28">
            <a:extLst>
              <a:ext uri="{FF2B5EF4-FFF2-40B4-BE49-F238E27FC236}">
                <a16:creationId xmlns:a16="http://schemas.microsoft.com/office/drawing/2014/main" id="{7D5C1776-80BB-4E2C-0083-9613F6801B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136" y="4373178"/>
            <a:ext cx="554060" cy="554060"/>
          </a:xfrm>
          <a:prstGeom prst="rect">
            <a:avLst/>
          </a:prstGeom>
        </p:spPr>
      </p:pic>
      <p:pic>
        <p:nvPicPr>
          <p:cNvPr id="30" name="صورة 29" descr="صورة تحتوي على شخص, تلبيس, حائط, داخلي&#10;&#10;تم إنشاء الوصف تلقائياً">
            <a:extLst>
              <a:ext uri="{FF2B5EF4-FFF2-40B4-BE49-F238E27FC236}">
                <a16:creationId xmlns:a16="http://schemas.microsoft.com/office/drawing/2014/main" id="{EEC5802D-7A95-17C2-3C32-530D9DAC5D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86" y="2295822"/>
            <a:ext cx="5545344" cy="38157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1" name="Rectangle 6">
            <a:extLst>
              <a:ext uri="{FF2B5EF4-FFF2-40B4-BE49-F238E27FC236}">
                <a16:creationId xmlns:a16="http://schemas.microsoft.com/office/drawing/2014/main" id="{778D00FC-4DD7-042D-DA79-D359D06F263A}"/>
              </a:ext>
            </a:extLst>
          </p:cNvPr>
          <p:cNvSpPr/>
          <p:nvPr/>
        </p:nvSpPr>
        <p:spPr>
          <a:xfrm>
            <a:off x="7627789" y="5469135"/>
            <a:ext cx="3423139" cy="8557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Parallelogram 14">
            <a:extLst>
              <a:ext uri="{FF2B5EF4-FFF2-40B4-BE49-F238E27FC236}">
                <a16:creationId xmlns:a16="http://schemas.microsoft.com/office/drawing/2014/main" id="{1023BB66-BA06-F90E-23E8-53CA16D65069}"/>
              </a:ext>
            </a:extLst>
          </p:cNvPr>
          <p:cNvSpPr/>
          <p:nvPr/>
        </p:nvSpPr>
        <p:spPr>
          <a:xfrm>
            <a:off x="8033923" y="5043963"/>
            <a:ext cx="2579077" cy="429891"/>
          </a:xfrm>
          <a:prstGeom prst="parallelogram">
            <a:avLst>
              <a:gd name="adj" fmla="val 222143"/>
            </a:avLst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885D526B-1F69-8C52-6DF3-D1EE610D8E96}"/>
              </a:ext>
            </a:extLst>
          </p:cNvPr>
          <p:cNvSpPr/>
          <p:nvPr/>
        </p:nvSpPr>
        <p:spPr>
          <a:xfrm>
            <a:off x="7759603" y="560512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8FBD0680-8D42-08A1-F6FF-3F29215296B3}"/>
              </a:ext>
            </a:extLst>
          </p:cNvPr>
          <p:cNvSpPr/>
          <p:nvPr/>
        </p:nvSpPr>
        <p:spPr>
          <a:xfrm>
            <a:off x="8233395" y="5528130"/>
            <a:ext cx="27857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5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</p:txBody>
      </p:sp>
      <p:pic>
        <p:nvPicPr>
          <p:cNvPr id="36" name="صورة 35" descr="صورة تحتوي على لقطة شاشة, أسود, التصميم&#10;&#10;تم إنشاء الوصف تلقائياً">
            <a:extLst>
              <a:ext uri="{FF2B5EF4-FFF2-40B4-BE49-F238E27FC236}">
                <a16:creationId xmlns:a16="http://schemas.microsoft.com/office/drawing/2014/main" id="{9D130E87-7A78-AAC8-40B1-3BCDAF8A1C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598" y="5669116"/>
            <a:ext cx="404796" cy="404796"/>
          </a:xfrm>
          <a:prstGeom prst="rect">
            <a:avLst/>
          </a:prstGeom>
          <a:ln>
            <a:solidFill>
              <a:srgbClr val="8EA7FF"/>
            </a:solidFill>
          </a:ln>
        </p:spPr>
      </p:pic>
    </p:spTree>
    <p:extLst>
      <p:ext uri="{BB962C8B-B14F-4D97-AF65-F5344CB8AC3E}">
        <p14:creationId xmlns:p14="http://schemas.microsoft.com/office/powerpoint/2010/main" val="26136685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1" grpId="0"/>
      <p:bldP spid="22" grpId="0"/>
      <p:bldP spid="23" grpId="0"/>
      <p:bldP spid="24" grpId="0"/>
      <p:bldP spid="25" grpId="0"/>
      <p:bldP spid="31" grpId="0" animBg="1"/>
      <p:bldP spid="32" grpId="0" animBg="1"/>
      <p:bldP spid="34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445430" y="2711214"/>
            <a:ext cx="9298092" cy="1431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Conclusion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249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مستطيل 9">
            <a:extLst>
              <a:ext uri="{FF2B5EF4-FFF2-40B4-BE49-F238E27FC236}">
                <a16:creationId xmlns:a16="http://schemas.microsoft.com/office/drawing/2014/main" id="{68556C92-CABB-60FB-C3E9-6FD6652F8755}"/>
              </a:ext>
            </a:extLst>
          </p:cNvPr>
          <p:cNvSpPr/>
          <p:nvPr/>
        </p:nvSpPr>
        <p:spPr>
          <a:xfrm>
            <a:off x="-6596" y="2276393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sp>
        <p:nvSpPr>
          <p:cNvPr id="11" name="مستطيل 10">
            <a:extLst>
              <a:ext uri="{FF2B5EF4-FFF2-40B4-BE49-F238E27FC236}">
                <a16:creationId xmlns:a16="http://schemas.microsoft.com/office/drawing/2014/main" id="{B28A495A-8F79-D11C-D027-9EC156C76A72}"/>
              </a:ext>
            </a:extLst>
          </p:cNvPr>
          <p:cNvSpPr/>
          <p:nvPr/>
        </p:nvSpPr>
        <p:spPr>
          <a:xfrm>
            <a:off x="0" y="3929071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tint val="66000"/>
                  <a:satMod val="160000"/>
                </a:schemeClr>
              </a:gs>
              <a:gs pos="50000">
                <a:schemeClr val="accent2">
                  <a:lumMod val="75000"/>
                  <a:tint val="44500"/>
                  <a:satMod val="160000"/>
                </a:schemeClr>
              </a:gs>
              <a:gs pos="100000">
                <a:schemeClr val="accent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2" name="مستطيل 11">
            <a:extLst>
              <a:ext uri="{FF2B5EF4-FFF2-40B4-BE49-F238E27FC236}">
                <a16:creationId xmlns:a16="http://schemas.microsoft.com/office/drawing/2014/main" id="{7A08B171-9CA9-1548-AAB1-6C319FEE18BD}"/>
              </a:ext>
            </a:extLst>
          </p:cNvPr>
          <p:cNvSpPr/>
          <p:nvPr/>
        </p:nvSpPr>
        <p:spPr>
          <a:xfrm>
            <a:off x="0" y="5576091"/>
            <a:ext cx="12192000" cy="1247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4" name="مستطيل 13">
            <a:extLst>
              <a:ext uri="{FF2B5EF4-FFF2-40B4-BE49-F238E27FC236}">
                <a16:creationId xmlns:a16="http://schemas.microsoft.com/office/drawing/2014/main" id="{959262EC-CD52-1653-906A-38EE1EDB251E}"/>
              </a:ext>
            </a:extLst>
          </p:cNvPr>
          <p:cNvSpPr/>
          <p:nvPr/>
        </p:nvSpPr>
        <p:spPr>
          <a:xfrm>
            <a:off x="2054216" y="623715"/>
            <a:ext cx="10131188" cy="1247538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7961408">
            <a:off x="133234" y="548001"/>
            <a:ext cx="970176" cy="1134403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6336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218365" y="257243"/>
            <a:ext cx="11868412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/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</a:t>
            </a:r>
          </a:p>
          <a:p>
            <a:pPr indent="363538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 In conclusion, the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project represents a groundbreaking leap 			forward in the realm of HRM. By integrating cutting-edge technologies 		like AI, NLP, and ML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redefined the landscape of HR processes.</a:t>
            </a:r>
          </a:p>
          <a:p>
            <a:pPr indent="363538" algn="just"/>
            <a:endParaRPr lang="en-US" sz="8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rough a meticulous literature review, detailed system analysis, and robust system design,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not only identified key challenges in traditional HR systems but has also provided innovative solutions to address them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ith a focus on enhancing candidate screening, resume parsing, and employee sentiment analysis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empowers HR professionals to make data-driven decisions efficiently and effectively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s we embark on the next phase of this project, we are excited to see the impact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will have on revolutionizing HR practices and shaping the future of Human Resource Management.</a:t>
            </a:r>
          </a:p>
          <a:p>
            <a:pPr indent="174625" algn="just"/>
            <a:endParaRPr lang="en-US" sz="22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5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iamond 42">
            <a:extLst>
              <a:ext uri="{FF2B5EF4-FFF2-40B4-BE49-F238E27FC236}">
                <a16:creationId xmlns:a16="http://schemas.microsoft.com/office/drawing/2014/main" id="{12A0CB35-6244-2206-C567-41851FB895AB}"/>
              </a:ext>
            </a:extLst>
          </p:cNvPr>
          <p:cNvSpPr/>
          <p:nvPr/>
        </p:nvSpPr>
        <p:spPr>
          <a:xfrm>
            <a:off x="7185" y="77580"/>
            <a:ext cx="2276448" cy="2191980"/>
          </a:xfrm>
          <a:prstGeom prst="diamond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E392D14-9077-5AC7-B46F-EC2797125AF3}"/>
              </a:ext>
            </a:extLst>
          </p:cNvPr>
          <p:cNvSpPr/>
          <p:nvPr/>
        </p:nvSpPr>
        <p:spPr>
          <a:xfrm>
            <a:off x="4411928" y="5780111"/>
            <a:ext cx="3368138" cy="869324"/>
          </a:xfrm>
          <a:custGeom>
            <a:avLst/>
            <a:gdLst>
              <a:gd name="connsiteX0" fmla="*/ 1 w 3368138"/>
              <a:gd name="connsiteY0" fmla="*/ 0 h 869324"/>
              <a:gd name="connsiteX1" fmla="*/ 3368138 w 3368138"/>
              <a:gd name="connsiteY1" fmla="*/ 0 h 869324"/>
              <a:gd name="connsiteX2" fmla="*/ 3368138 w 3368138"/>
              <a:gd name="connsiteY2" fmla="*/ 579549 h 869324"/>
              <a:gd name="connsiteX3" fmla="*/ 1684069 w 3368138"/>
              <a:gd name="connsiteY3" fmla="*/ 869324 h 869324"/>
              <a:gd name="connsiteX4" fmla="*/ 0 w 3368138"/>
              <a:gd name="connsiteY4" fmla="*/ 579549 h 869324"/>
              <a:gd name="connsiteX5" fmla="*/ 1 w 3368138"/>
              <a:gd name="connsiteY5" fmla="*/ 579547 h 869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8138" h="869324">
                <a:moveTo>
                  <a:pt x="1" y="0"/>
                </a:moveTo>
                <a:lnTo>
                  <a:pt x="3368138" y="0"/>
                </a:lnTo>
                <a:lnTo>
                  <a:pt x="3368138" y="579549"/>
                </a:lnTo>
                <a:cubicBezTo>
                  <a:pt x="3368138" y="739587"/>
                  <a:pt x="2614155" y="869324"/>
                  <a:pt x="1684069" y="869324"/>
                </a:cubicBezTo>
                <a:cubicBezTo>
                  <a:pt x="753983" y="869324"/>
                  <a:pt x="0" y="739587"/>
                  <a:pt x="0" y="579549"/>
                </a:cubicBezTo>
                <a:lnTo>
                  <a:pt x="1" y="57954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90ECAA9-2491-9559-2C09-4FA2374742A9}"/>
              </a:ext>
            </a:extLst>
          </p:cNvPr>
          <p:cNvSpPr/>
          <p:nvPr/>
        </p:nvSpPr>
        <p:spPr>
          <a:xfrm>
            <a:off x="4411931" y="5490338"/>
            <a:ext cx="3368137" cy="579549"/>
          </a:xfrm>
          <a:prstGeom prst="ellipse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980FC8-8D01-F987-1751-18C4D9AF16CE}"/>
              </a:ext>
            </a:extLst>
          </p:cNvPr>
          <p:cNvGrpSpPr/>
          <p:nvPr/>
        </p:nvGrpSpPr>
        <p:grpSpPr>
          <a:xfrm>
            <a:off x="3408124" y="4663643"/>
            <a:ext cx="4113358" cy="1516085"/>
            <a:chOff x="1378854" y="1712890"/>
            <a:chExt cx="4113358" cy="15160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DF980C2-FF6D-C822-1910-D7D3C754A597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32414F-317E-508B-0707-6B85DB556160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05473E3-35D6-3F5D-AF6A-6CA5B4E264B1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BBBCC-C51C-88A9-F521-3EE07D5E6BDA}"/>
              </a:ext>
            </a:extLst>
          </p:cNvPr>
          <p:cNvGrpSpPr/>
          <p:nvPr/>
        </p:nvGrpSpPr>
        <p:grpSpPr>
          <a:xfrm>
            <a:off x="2772391" y="3848168"/>
            <a:ext cx="4113358" cy="1516085"/>
            <a:chOff x="1378854" y="1712890"/>
            <a:chExt cx="4113358" cy="151608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CD6C66-9E41-9676-DDBA-9376F9B899DE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96D6C-9975-D906-794E-3C9CAD4306FA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CE6EF2F-4623-1411-5252-0828DA15F234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6EDEAF-6E2E-622B-A8AB-673268673B32}"/>
              </a:ext>
            </a:extLst>
          </p:cNvPr>
          <p:cNvGrpSpPr/>
          <p:nvPr/>
        </p:nvGrpSpPr>
        <p:grpSpPr>
          <a:xfrm>
            <a:off x="2042875" y="3009276"/>
            <a:ext cx="4113358" cy="1516085"/>
            <a:chOff x="1378854" y="1712890"/>
            <a:chExt cx="4113358" cy="151608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EC4ED60-CF63-DE8E-F956-82DB5571AE1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32F25F6-1CB4-05BB-31DC-94BDC0937155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E204DEF-C87F-BF8F-B4D6-27CEF0F5289C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2EA84"/>
                </a:gs>
                <a:gs pos="83000">
                  <a:srgbClr val="FFC74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ECCF787-B2D0-D561-2C67-F10BE4949058}"/>
              </a:ext>
            </a:extLst>
          </p:cNvPr>
          <p:cNvGrpSpPr/>
          <p:nvPr/>
        </p:nvGrpSpPr>
        <p:grpSpPr>
          <a:xfrm>
            <a:off x="1378854" y="2214335"/>
            <a:ext cx="4113358" cy="1516085"/>
            <a:chOff x="1378854" y="1712890"/>
            <a:chExt cx="4113358" cy="151608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588A6B-35C1-06CC-6D8C-B2527C354C0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DDD2517-C337-AD08-8242-91657D6C7388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50AD31-9F7A-38F6-2DA7-7DD66DCDD0DB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Flag7">
            <a:extLst>
              <a:ext uri="{FF2B5EF4-FFF2-40B4-BE49-F238E27FC236}">
                <a16:creationId xmlns:a16="http://schemas.microsoft.com/office/drawing/2014/main" id="{49DECA56-5F50-9184-8440-8012FC234E8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651108" y="988037"/>
            <a:ext cx="965397" cy="1591027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>
            <a:glow rad="635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23" name="Freeform 411">
              <a:extLst>
                <a:ext uri="{FF2B5EF4-FFF2-40B4-BE49-F238E27FC236}">
                  <a16:creationId xmlns:a16="http://schemas.microsoft.com/office/drawing/2014/main" id="{7BD4F4C2-5DD8-7048-F784-F94F1C031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12">
              <a:extLst>
                <a:ext uri="{FF2B5EF4-FFF2-40B4-BE49-F238E27FC236}">
                  <a16:creationId xmlns:a16="http://schemas.microsoft.com/office/drawing/2014/main" id="{32365036-F8AD-C6C7-898D-A366C229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5" name="Graphic 24" descr="Crawl">
            <a:extLst>
              <a:ext uri="{FF2B5EF4-FFF2-40B4-BE49-F238E27FC236}">
                <a16:creationId xmlns:a16="http://schemas.microsoft.com/office/drawing/2014/main" id="{7F8DCF9B-7D0D-9874-3D97-78A63240C0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867392" y="4355350"/>
            <a:ext cx="418872" cy="418872"/>
          </a:xfrm>
          <a:prstGeom prst="rect">
            <a:avLst/>
          </a:prstGeom>
        </p:spPr>
      </p:pic>
      <p:pic>
        <p:nvPicPr>
          <p:cNvPr id="26" name="Graphic 25" descr="Walk">
            <a:extLst>
              <a:ext uri="{FF2B5EF4-FFF2-40B4-BE49-F238E27FC236}">
                <a16:creationId xmlns:a16="http://schemas.microsoft.com/office/drawing/2014/main" id="{6B66AF52-D7EF-18A6-50A3-3BCF023E6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098630" y="3526392"/>
            <a:ext cx="418872" cy="418872"/>
          </a:xfrm>
          <a:prstGeom prst="rect">
            <a:avLst/>
          </a:prstGeom>
        </p:spPr>
      </p:pic>
      <p:pic>
        <p:nvPicPr>
          <p:cNvPr id="27" name="Graphic 26" descr="Run">
            <a:extLst>
              <a:ext uri="{FF2B5EF4-FFF2-40B4-BE49-F238E27FC236}">
                <a16:creationId xmlns:a16="http://schemas.microsoft.com/office/drawing/2014/main" id="{AB3B62EA-5D9C-359C-5FDB-092C91004A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491734" y="2768606"/>
            <a:ext cx="418872" cy="418872"/>
          </a:xfrm>
          <a:prstGeom prst="rect">
            <a:avLst/>
          </a:prstGeom>
        </p:spPr>
      </p:pic>
      <p:pic>
        <p:nvPicPr>
          <p:cNvPr id="28" name="Graphic 27" descr="Confused person">
            <a:extLst>
              <a:ext uri="{FF2B5EF4-FFF2-40B4-BE49-F238E27FC236}">
                <a16:creationId xmlns:a16="http://schemas.microsoft.com/office/drawing/2014/main" id="{45C9B9D9-948A-BDD9-FD07-2E0F01D41A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524018" y="5191368"/>
            <a:ext cx="418872" cy="418872"/>
          </a:xfrm>
          <a:prstGeom prst="rect">
            <a:avLst/>
          </a:prstGeom>
        </p:spPr>
      </p:pic>
      <p:pic>
        <p:nvPicPr>
          <p:cNvPr id="29" name="Graphic 28" descr="Man">
            <a:extLst>
              <a:ext uri="{FF2B5EF4-FFF2-40B4-BE49-F238E27FC236}">
                <a16:creationId xmlns:a16="http://schemas.microsoft.com/office/drawing/2014/main" id="{6CB10E0B-C0D3-5270-3C43-E1BC995F94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276494" y="5998714"/>
            <a:ext cx="418872" cy="4188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618F342-1599-8EE9-D6C1-8B92EBABD6C8}"/>
              </a:ext>
            </a:extLst>
          </p:cNvPr>
          <p:cNvSpPr txBox="1"/>
          <p:nvPr/>
        </p:nvSpPr>
        <p:spPr>
          <a:xfrm>
            <a:off x="2672558" y="2909531"/>
            <a:ext cx="155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ypothes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039E6B-CACB-6617-BA14-5E73A41D5C4B}"/>
              </a:ext>
            </a:extLst>
          </p:cNvPr>
          <p:cNvSpPr txBox="1"/>
          <p:nvPr/>
        </p:nvSpPr>
        <p:spPr>
          <a:xfrm>
            <a:off x="3654461" y="4507166"/>
            <a:ext cx="2319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Questions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0CB73A-3D93-4DAF-7EB3-A5C0C66F0CEB}"/>
              </a:ext>
            </a:extLst>
          </p:cNvPr>
          <p:cNvSpPr txBox="1"/>
          <p:nvPr/>
        </p:nvSpPr>
        <p:spPr>
          <a:xfrm>
            <a:off x="3338689" y="3680270"/>
            <a:ext cx="1395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bjectives</a:t>
            </a:r>
            <a:endParaRPr lang="en-US" sz="1100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37A830-054D-1CA4-8BB9-1C1578F62E1C}"/>
              </a:ext>
            </a:extLst>
          </p:cNvPr>
          <p:cNvSpPr txBox="1"/>
          <p:nvPr/>
        </p:nvSpPr>
        <p:spPr>
          <a:xfrm>
            <a:off x="4090814" y="5328061"/>
            <a:ext cx="2443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urpose of the Study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D4C8C9-BC6F-CF0F-BE10-5678E18D7BBC}"/>
              </a:ext>
            </a:extLst>
          </p:cNvPr>
          <p:cNvSpPr txBox="1"/>
          <p:nvPr/>
        </p:nvSpPr>
        <p:spPr>
          <a:xfrm>
            <a:off x="4613616" y="6003104"/>
            <a:ext cx="292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Problem's Significanc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80185E-7821-E02F-034B-B985CDF4EFD3}"/>
              </a:ext>
            </a:extLst>
          </p:cNvPr>
          <p:cNvSpPr txBox="1"/>
          <p:nvPr/>
        </p:nvSpPr>
        <p:spPr>
          <a:xfrm>
            <a:off x="5571101" y="1824861"/>
            <a:ext cx="660434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>
                <a:ln>
                  <a:solidFill>
                    <a:schemeClr val="accent6">
                      <a:lumMod val="75000"/>
                    </a:schemeClr>
                  </a:solidFill>
                </a:ln>
                <a:solidFill>
                  <a:schemeClr val="accent6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HEADING 05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Based on the research questions, we propose hypotheses that form the basis for our study:H1: AI-enhanced talent acquisition will result in a more efficient and diverse hiring process.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H2: AI-driven performance management will positively impact employee engagement and productivit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E06E22-F0FD-E50E-9666-31F2A72804BC}"/>
              </a:ext>
            </a:extLst>
          </p:cNvPr>
          <p:cNvSpPr txBox="1"/>
          <p:nvPr/>
        </p:nvSpPr>
        <p:spPr>
          <a:xfrm>
            <a:off x="6207367" y="3118078"/>
            <a:ext cx="507832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</a:t>
            </a:r>
            <a:r>
              <a:rPr lang="en-US" sz="1400" b="1" dirty="0">
                <a:latin typeface="Lucida Fax" panose="02060602050505020204" pitchFamily="18" charset="0"/>
              </a:rPr>
              <a:t> </a:t>
            </a:r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04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Showcase AI tools for HR workflows and optimize talent acquisition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456D55-F31D-3DD3-2AA6-B9E7EC471C07}"/>
              </a:ext>
            </a:extLst>
          </p:cNvPr>
          <p:cNvSpPr txBox="1"/>
          <p:nvPr/>
        </p:nvSpPr>
        <p:spPr>
          <a:xfrm>
            <a:off x="6885749" y="3809853"/>
            <a:ext cx="53190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HEADING 03</a:t>
            </a:r>
            <a:endParaRPr lang="en-US" sz="16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Lucida Fax" panose="02060602050505020204" pitchFamily="18" charset="0"/>
              </a:rPr>
              <a:t>How can AI enhance talent acquisition and recruitment, and what is the impact of AI-driven performance management on employee productivity and engagement?</a:t>
            </a:r>
          </a:p>
          <a:p>
            <a:endParaRPr lang="en-US" sz="14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337EF8-3B67-DCEB-D55F-352BB7D7D82F}"/>
              </a:ext>
            </a:extLst>
          </p:cNvPr>
          <p:cNvSpPr txBox="1"/>
          <p:nvPr/>
        </p:nvSpPr>
        <p:spPr>
          <a:xfrm>
            <a:off x="7521482" y="4733866"/>
            <a:ext cx="3902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entury Gothic" panose="020B0502020202020204" pitchFamily="34" charset="0"/>
              </a:rPr>
              <a:t>HEADING 02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Introduce AI-EHRMS as a holistic, AI-driven HR management solution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96E9B2-AF3E-5B40-F19E-2F4E95FFA2D9}"/>
              </a:ext>
            </a:extLst>
          </p:cNvPr>
          <p:cNvSpPr txBox="1"/>
          <p:nvPr/>
        </p:nvSpPr>
        <p:spPr>
          <a:xfrm>
            <a:off x="7851815" y="5546667"/>
            <a:ext cx="432363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 01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The research problem addressed by AI-EHRMS is of paramount significance, focusing on the need for advanced tools to navigate the complexities of modern HR management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AB60AD-F371-75B4-7D61-058FB0F6B9AA}"/>
              </a:ext>
            </a:extLst>
          </p:cNvPr>
          <p:cNvSpPr txBox="1"/>
          <p:nvPr/>
        </p:nvSpPr>
        <p:spPr>
          <a:xfrm>
            <a:off x="3183742" y="397165"/>
            <a:ext cx="62195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 cont.</a:t>
            </a:r>
            <a:endParaRPr lang="ar-EG" sz="28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1" name="Picture 40" descr="A cartoon character with a black background">
            <a:extLst>
              <a:ext uri="{FF2B5EF4-FFF2-40B4-BE49-F238E27FC236}">
                <a16:creationId xmlns:a16="http://schemas.microsoft.com/office/drawing/2014/main" id="{09F4A498-5EB2-381B-A9E2-9EF4E406EF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2" y="-75614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46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3" grpId="0" animBg="1"/>
      <p:bldP spid="4" grpId="0" animBg="1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0" y="3429000"/>
            <a:ext cx="3221765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3" r="18573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20733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809275">
            <a:off x="8911765" y="-2400542"/>
            <a:ext cx="3473091" cy="11590142"/>
            <a:chOff x="0" y="0"/>
            <a:chExt cx="1372085" cy="457882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72085" cy="4578822"/>
            </a:xfrm>
            <a:custGeom>
              <a:avLst/>
              <a:gdLst/>
              <a:ahLst/>
              <a:cxnLst/>
              <a:rect l="l" t="t" r="r" b="b"/>
              <a:pathLst>
                <a:path w="1372085" h="4578822">
                  <a:moveTo>
                    <a:pt x="0" y="0"/>
                  </a:moveTo>
                  <a:lnTo>
                    <a:pt x="1372085" y="0"/>
                  </a:lnTo>
                  <a:lnTo>
                    <a:pt x="137208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57150"/>
              <a:ext cx="1372085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5" name="Group 5"/>
          <p:cNvGrpSpPr/>
          <p:nvPr/>
        </p:nvGrpSpPr>
        <p:grpSpPr>
          <a:xfrm rot="9011666">
            <a:off x="9194406" y="2596722"/>
            <a:ext cx="1897057" cy="11590142"/>
            <a:chOff x="0" y="0"/>
            <a:chExt cx="749455" cy="457882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749455" cy="4578822"/>
            </a:xfrm>
            <a:custGeom>
              <a:avLst/>
              <a:gdLst/>
              <a:ahLst/>
              <a:cxnLst/>
              <a:rect l="l" t="t" r="r" b="b"/>
              <a:pathLst>
                <a:path w="749455" h="4578822">
                  <a:moveTo>
                    <a:pt x="0" y="0"/>
                  </a:moveTo>
                  <a:lnTo>
                    <a:pt x="749455" y="0"/>
                  </a:lnTo>
                  <a:lnTo>
                    <a:pt x="74945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57150"/>
              <a:ext cx="749455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8" name="Group 8"/>
          <p:cNvGrpSpPr/>
          <p:nvPr/>
        </p:nvGrpSpPr>
        <p:grpSpPr>
          <a:xfrm rot="1809275">
            <a:off x="6839023" y="-3063875"/>
            <a:ext cx="1506293" cy="11590142"/>
            <a:chOff x="0" y="0"/>
            <a:chExt cx="595079" cy="457882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95079" cy="4578822"/>
            </a:xfrm>
            <a:custGeom>
              <a:avLst/>
              <a:gdLst/>
              <a:ahLst/>
              <a:cxnLst/>
              <a:rect l="l" t="t" r="r" b="b"/>
              <a:pathLst>
                <a:path w="595079" h="4578822">
                  <a:moveTo>
                    <a:pt x="0" y="0"/>
                  </a:moveTo>
                  <a:lnTo>
                    <a:pt x="595079" y="0"/>
                  </a:lnTo>
                  <a:lnTo>
                    <a:pt x="59507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57150"/>
              <a:ext cx="595079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11" name="Group 11"/>
          <p:cNvGrpSpPr/>
          <p:nvPr/>
        </p:nvGrpSpPr>
        <p:grpSpPr>
          <a:xfrm rot="9011666">
            <a:off x="7114436" y="-2796869"/>
            <a:ext cx="1465005" cy="5380760"/>
            <a:chOff x="0" y="0"/>
            <a:chExt cx="578767" cy="2125732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578767" cy="2125732"/>
            </a:xfrm>
            <a:custGeom>
              <a:avLst/>
              <a:gdLst/>
              <a:ahLst/>
              <a:cxnLst/>
              <a:rect l="l" t="t" r="r" b="b"/>
              <a:pathLst>
                <a:path w="578767" h="2125732">
                  <a:moveTo>
                    <a:pt x="0" y="0"/>
                  </a:moveTo>
                  <a:lnTo>
                    <a:pt x="578767" y="0"/>
                  </a:lnTo>
                  <a:lnTo>
                    <a:pt x="578767" y="2125732"/>
                  </a:lnTo>
                  <a:lnTo>
                    <a:pt x="0" y="212573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57150"/>
              <a:ext cx="578767" cy="218288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14" name="Freeform 14"/>
          <p:cNvSpPr/>
          <p:nvPr/>
        </p:nvSpPr>
        <p:spPr>
          <a:xfrm>
            <a:off x="6529545" y="913444"/>
            <a:ext cx="5741641" cy="5031113"/>
          </a:xfrm>
          <a:custGeom>
            <a:avLst/>
            <a:gdLst/>
            <a:ahLst/>
            <a:cxnLst/>
            <a:rect l="l" t="t" r="r" b="b"/>
            <a:pathLst>
              <a:path w="8612462" h="7546670">
                <a:moveTo>
                  <a:pt x="0" y="0"/>
                </a:moveTo>
                <a:lnTo>
                  <a:pt x="8612462" y="0"/>
                </a:lnTo>
                <a:lnTo>
                  <a:pt x="8612462" y="7546670"/>
                </a:lnTo>
                <a:lnTo>
                  <a:pt x="0" y="754667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15" name="Group 15"/>
          <p:cNvGrpSpPr/>
          <p:nvPr/>
        </p:nvGrpSpPr>
        <p:grpSpPr>
          <a:xfrm>
            <a:off x="6608731" y="637365"/>
            <a:ext cx="5583269" cy="5190696"/>
            <a:chOff x="0" y="-57150"/>
            <a:chExt cx="812800" cy="75565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 dirty="0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24" name="TextBox 24"/>
          <p:cNvSpPr txBox="1"/>
          <p:nvPr/>
        </p:nvSpPr>
        <p:spPr>
          <a:xfrm>
            <a:off x="598043" y="3126469"/>
            <a:ext cx="5410200" cy="1013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7947"/>
              </a:lnSpc>
            </a:pPr>
            <a:r>
              <a:rPr lang="en-US" sz="691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 You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98043" y="4050965"/>
            <a:ext cx="5410200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834"/>
              </a:lnSpc>
            </a:pPr>
            <a:r>
              <a:rPr lang="en-US" sz="3334" b="1" spc="487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Your Attention</a:t>
            </a:r>
          </a:p>
        </p:txBody>
      </p:sp>
      <p:grpSp>
        <p:nvGrpSpPr>
          <p:cNvPr id="36" name="Group 2">
            <a:extLst>
              <a:ext uri="{FF2B5EF4-FFF2-40B4-BE49-F238E27FC236}">
                <a16:creationId xmlns:a16="http://schemas.microsoft.com/office/drawing/2014/main" id="{715DE09A-422D-3D4F-2875-E5B11CBE570F}"/>
              </a:ext>
            </a:extLst>
          </p:cNvPr>
          <p:cNvGrpSpPr/>
          <p:nvPr/>
        </p:nvGrpSpPr>
        <p:grpSpPr>
          <a:xfrm rot="9011666">
            <a:off x="-1315499" y="-5243387"/>
            <a:ext cx="1507585" cy="6316425"/>
            <a:chOff x="0" y="0"/>
            <a:chExt cx="1235893" cy="4578822"/>
          </a:xfrm>
        </p:grpSpPr>
        <p:sp>
          <p:nvSpPr>
            <p:cNvPr id="37" name="Freeform 3">
              <a:extLst>
                <a:ext uri="{FF2B5EF4-FFF2-40B4-BE49-F238E27FC236}">
                  <a16:creationId xmlns:a16="http://schemas.microsoft.com/office/drawing/2014/main" id="{7B738C01-395D-0EA9-29F2-98CE8686001B}"/>
                </a:ext>
              </a:extLst>
            </p:cNvPr>
            <p:cNvSpPr/>
            <p:nvPr/>
          </p:nvSpPr>
          <p:spPr>
            <a:xfrm>
              <a:off x="0" y="0"/>
              <a:ext cx="1235893" cy="4578822"/>
            </a:xfrm>
            <a:custGeom>
              <a:avLst/>
              <a:gdLst/>
              <a:ahLst/>
              <a:cxnLst/>
              <a:rect l="l" t="t" r="r" b="b"/>
              <a:pathLst>
                <a:path w="1235893" h="4578822">
                  <a:moveTo>
                    <a:pt x="0" y="0"/>
                  </a:moveTo>
                  <a:lnTo>
                    <a:pt x="1235893" y="0"/>
                  </a:lnTo>
                  <a:lnTo>
                    <a:pt x="1235893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AE154E4-19EB-AC98-428A-F678AE24C682}"/>
                </a:ext>
              </a:extLst>
            </p:cNvPr>
            <p:cNvSpPr txBox="1"/>
            <p:nvPr/>
          </p:nvSpPr>
          <p:spPr>
            <a:xfrm>
              <a:off x="0" y="-57150"/>
              <a:ext cx="1235893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39" name="Group 11">
            <a:extLst>
              <a:ext uri="{FF2B5EF4-FFF2-40B4-BE49-F238E27FC236}">
                <a16:creationId xmlns:a16="http://schemas.microsoft.com/office/drawing/2014/main" id="{697F1E9E-16AD-81A5-B66F-A24D16D05C69}"/>
              </a:ext>
            </a:extLst>
          </p:cNvPr>
          <p:cNvGrpSpPr/>
          <p:nvPr/>
        </p:nvGrpSpPr>
        <p:grpSpPr>
          <a:xfrm rot="-8973387">
            <a:off x="-1462775" y="996249"/>
            <a:ext cx="798832" cy="6316425"/>
            <a:chOff x="0" y="0"/>
            <a:chExt cx="610329" cy="4578822"/>
          </a:xfrm>
        </p:grpSpPr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1F0E389-D9D2-9478-8E84-1CD0379AC544}"/>
                </a:ext>
              </a:extLst>
            </p:cNvPr>
            <p:cNvSpPr/>
            <p:nvPr/>
          </p:nvSpPr>
          <p:spPr>
            <a:xfrm>
              <a:off x="0" y="0"/>
              <a:ext cx="610329" cy="4578822"/>
            </a:xfrm>
            <a:custGeom>
              <a:avLst/>
              <a:gdLst/>
              <a:ahLst/>
              <a:cxnLst/>
              <a:rect l="l" t="t" r="r" b="b"/>
              <a:pathLst>
                <a:path w="610329" h="4578822">
                  <a:moveTo>
                    <a:pt x="0" y="0"/>
                  </a:moveTo>
                  <a:lnTo>
                    <a:pt x="610329" y="0"/>
                  </a:lnTo>
                  <a:lnTo>
                    <a:pt x="61032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1" name="TextBox 13">
              <a:extLst>
                <a:ext uri="{FF2B5EF4-FFF2-40B4-BE49-F238E27FC236}">
                  <a16:creationId xmlns:a16="http://schemas.microsoft.com/office/drawing/2014/main" id="{82EF1125-307D-662C-CCC9-63439A41DE5E}"/>
                </a:ext>
              </a:extLst>
            </p:cNvPr>
            <p:cNvSpPr txBox="1"/>
            <p:nvPr/>
          </p:nvSpPr>
          <p:spPr>
            <a:xfrm>
              <a:off x="0" y="-57150"/>
              <a:ext cx="610329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42" name="Group 14">
            <a:extLst>
              <a:ext uri="{FF2B5EF4-FFF2-40B4-BE49-F238E27FC236}">
                <a16:creationId xmlns:a16="http://schemas.microsoft.com/office/drawing/2014/main" id="{F613FE84-8194-C0E3-A4AA-1728035C33C2}"/>
              </a:ext>
            </a:extLst>
          </p:cNvPr>
          <p:cNvGrpSpPr/>
          <p:nvPr/>
        </p:nvGrpSpPr>
        <p:grpSpPr>
          <a:xfrm>
            <a:off x="186909" y="157716"/>
            <a:ext cx="2389499" cy="2105052"/>
            <a:chOff x="0" y="0"/>
            <a:chExt cx="812800" cy="698500"/>
          </a:xfrm>
        </p:grpSpPr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22668AFC-48DD-41B5-C342-16977CCF8193}"/>
                </a:ext>
              </a:extLst>
            </p:cNvPr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4" name="TextBox 16">
              <a:extLst>
                <a:ext uri="{FF2B5EF4-FFF2-40B4-BE49-F238E27FC236}">
                  <a16:creationId xmlns:a16="http://schemas.microsoft.com/office/drawing/2014/main" id="{6A77C5C9-AE0A-2661-7531-E229A5E96F76}"/>
                </a:ext>
              </a:extLst>
            </p:cNvPr>
            <p:cNvSpPr txBox="1"/>
            <p:nvPr/>
          </p:nvSpPr>
          <p:spPr>
            <a:xfrm>
              <a:off x="114300" y="-38100"/>
              <a:ext cx="584200" cy="7366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E7A93442-C2BF-6B73-84C7-C1689D1742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7" y="252215"/>
            <a:ext cx="2418492" cy="246540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941BA2-1E17-4D57-B437-0AC37A98D28E}"/>
              </a:ext>
            </a:extLst>
          </p:cNvPr>
          <p:cNvSpPr txBox="1"/>
          <p:nvPr/>
        </p:nvSpPr>
        <p:spPr>
          <a:xfrm>
            <a:off x="476286" y="2330192"/>
            <a:ext cx="4322017" cy="64633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none" rtlCol="1">
            <a:spAutoFit/>
          </a:bodyPr>
          <a:lstStyle/>
          <a:p>
            <a:r>
              <a:rPr lang="en-US" sz="3600" b="1" dirty="0">
                <a:solidFill>
                  <a:srgbClr val="26364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y Questions….. ?</a:t>
            </a:r>
            <a:endParaRPr lang="ar-EG" sz="3600" b="1" dirty="0">
              <a:solidFill>
                <a:srgbClr val="26364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pSp>
        <p:nvGrpSpPr>
          <p:cNvPr id="21" name="Group 18">
            <a:extLst>
              <a:ext uri="{FF2B5EF4-FFF2-40B4-BE49-F238E27FC236}">
                <a16:creationId xmlns:a16="http://schemas.microsoft.com/office/drawing/2014/main" id="{46B9217E-16E5-354A-C79A-23D2789AA490}"/>
              </a:ext>
            </a:extLst>
          </p:cNvPr>
          <p:cNvGrpSpPr/>
          <p:nvPr/>
        </p:nvGrpSpPr>
        <p:grpSpPr>
          <a:xfrm>
            <a:off x="6736038" y="1121813"/>
            <a:ext cx="5328653" cy="4614373"/>
            <a:chOff x="0" y="0"/>
            <a:chExt cx="4282440" cy="3708400"/>
          </a:xfrm>
        </p:grpSpPr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F0E8257E-3419-04F5-91E2-F18B836E1B2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8800"/>
                        </a14:imgEffect>
                      </a14:imgLayer>
                    </a14:imgProps>
                  </a:ext>
                </a:extLst>
              </a:blip>
              <a:stretch>
                <a:fillRect l="-26129" r="-28220" b="-18753"/>
              </a:stretch>
            </a:blipFill>
          </p:spPr>
          <p:txBody>
            <a:bodyPr/>
            <a:lstStyle/>
            <a:p>
              <a:endParaRPr lang="ar-EG" sz="1200"/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0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صورة الشريحة 2"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25103819"/>
                  </p:ext>
                </p:extLst>
              </p:nvPr>
            </p:nvGraphicFramePr>
            <p:xfrm>
              <a:off x="3392129" y="2571750"/>
              <a:ext cx="3048000" cy="1714500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صورة الشريحة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92129" y="2571750"/>
                <a:ext cx="3048000" cy="17145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27804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D50556B0-9B21-F9E8-8C46-E6BC11FA6CEF}"/>
              </a:ext>
            </a:extLst>
          </p:cNvPr>
          <p:cNvSpPr/>
          <p:nvPr/>
        </p:nvSpPr>
        <p:spPr>
          <a:xfrm>
            <a:off x="206477" y="137652"/>
            <a:ext cx="1858297" cy="1150374"/>
          </a:xfrm>
          <a:prstGeom prst="round2Diag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8F14D4-CD21-4AFE-D74A-205C181F9DBF}"/>
              </a:ext>
            </a:extLst>
          </p:cNvPr>
          <p:cNvSpPr txBox="1"/>
          <p:nvPr/>
        </p:nvSpPr>
        <p:spPr>
          <a:xfrm>
            <a:off x="4972031" y="420964"/>
            <a:ext cx="2993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Motivations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B1D67798-4A79-F150-F9CB-44E2F4E7EA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" y="-292956"/>
            <a:ext cx="2517829" cy="2566672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0A4C41-6702-B376-6845-09D795E66069}"/>
              </a:ext>
            </a:extLst>
          </p:cNvPr>
          <p:cNvSpPr/>
          <p:nvPr/>
        </p:nvSpPr>
        <p:spPr>
          <a:xfrm rot="1800000" flipV="1">
            <a:off x="2230178" y="3336683"/>
            <a:ext cx="1438539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0460C3-C893-C859-FEDC-7EF903C550B0}"/>
              </a:ext>
            </a:extLst>
          </p:cNvPr>
          <p:cNvGrpSpPr/>
          <p:nvPr/>
        </p:nvGrpSpPr>
        <p:grpSpPr>
          <a:xfrm>
            <a:off x="199552" y="1510592"/>
            <a:ext cx="5489725" cy="4892301"/>
            <a:chOff x="3344911" y="1162243"/>
            <a:chExt cx="5489725" cy="4892301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0C7CBE2-541A-82B7-06DA-143F4B39C1C8}"/>
                </a:ext>
              </a:extLst>
            </p:cNvPr>
            <p:cNvGrpSpPr/>
            <p:nvPr/>
          </p:nvGrpSpPr>
          <p:grpSpPr>
            <a:xfrm>
              <a:off x="4238036" y="1175933"/>
              <a:ext cx="1765023" cy="1958262"/>
              <a:chOff x="4238036" y="1175933"/>
              <a:chExt cx="1765023" cy="1958262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F3129CF-3E45-8393-2E20-6CACE7FE34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dk1">
                      <a:lumMod val="67000"/>
                    </a:schemeClr>
                  </a:gs>
                  <a:gs pos="48000">
                    <a:schemeClr val="dk1">
                      <a:lumMod val="97000"/>
                      <a:lumOff val="3000"/>
                    </a:schemeClr>
                  </a:gs>
                  <a:gs pos="100000">
                    <a:schemeClr val="dk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5F14C3FF-7B98-44A4-AA91-4C1F60021BA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85FAAD6-8861-A567-9F77-893A24FE6142}"/>
                </a:ext>
              </a:extLst>
            </p:cNvPr>
            <p:cNvGrpSpPr/>
            <p:nvPr/>
          </p:nvGrpSpPr>
          <p:grpSpPr>
            <a:xfrm rot="3600000">
              <a:off x="6008664" y="1065624"/>
              <a:ext cx="1765023" cy="1958262"/>
              <a:chOff x="4238036" y="1175933"/>
              <a:chExt cx="1765023" cy="1958262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232156-56BA-0224-9B75-CF0AB03B7565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24F949B-B69C-0751-D1A7-0173917E0D36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109A08C-87BD-7267-688F-A72823004388}"/>
                </a:ext>
              </a:extLst>
            </p:cNvPr>
            <p:cNvGrpSpPr/>
            <p:nvPr/>
          </p:nvGrpSpPr>
          <p:grpSpPr>
            <a:xfrm rot="7200000">
              <a:off x="6972993" y="2518072"/>
              <a:ext cx="1765023" cy="1958262"/>
              <a:chOff x="4238036" y="1175933"/>
              <a:chExt cx="1765023" cy="1958262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602C3D2F-A2C2-824E-D3F3-21092B66074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50F80ED-003F-E196-2180-12CE3E3B96AA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DE146AA-807B-5BE9-3E6B-0DE4493CE879}"/>
                </a:ext>
              </a:extLst>
            </p:cNvPr>
            <p:cNvGrpSpPr/>
            <p:nvPr/>
          </p:nvGrpSpPr>
          <p:grpSpPr>
            <a:xfrm rot="10800000">
              <a:off x="6201843" y="4081233"/>
              <a:ext cx="1765023" cy="1958262"/>
              <a:chOff x="4238036" y="1175933"/>
              <a:chExt cx="1765023" cy="1958262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957D770-F717-D301-A6A9-278D1E637CF8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48000">
                    <a:schemeClr val="accent3">
                      <a:lumMod val="97000"/>
                      <a:lumOff val="3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5E4DA58-3B4B-D78F-D402-8D1A287F0218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46A8CF0-9146-7B91-5213-AE22D702DC14}"/>
                </a:ext>
              </a:extLst>
            </p:cNvPr>
            <p:cNvGrpSpPr/>
            <p:nvPr/>
          </p:nvGrpSpPr>
          <p:grpSpPr>
            <a:xfrm rot="14400000">
              <a:off x="4420929" y="4192902"/>
              <a:ext cx="1765023" cy="1958262"/>
              <a:chOff x="4238036" y="1175933"/>
              <a:chExt cx="1765023" cy="195826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1CFE9BE-0A28-B77E-39E3-9D974EB8ADC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80AE1574-F774-2692-F236-1F3C34B32E1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9A14C7B-4FEB-04BD-DB25-51D641BCA576}"/>
                </a:ext>
              </a:extLst>
            </p:cNvPr>
            <p:cNvGrpSpPr/>
            <p:nvPr/>
          </p:nvGrpSpPr>
          <p:grpSpPr>
            <a:xfrm rot="18000000">
              <a:off x="3441530" y="2734452"/>
              <a:ext cx="1765023" cy="1958262"/>
              <a:chOff x="4238036" y="1175933"/>
              <a:chExt cx="1765023" cy="1958262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82E212C-D343-F52D-7176-6BEE89197D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8258D58-17B6-16CC-CDFB-91959616B68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D6127B27-3B3B-7A5F-E1BB-BF77FB16693E}"/>
              </a:ext>
            </a:extLst>
          </p:cNvPr>
          <p:cNvSpPr/>
          <p:nvPr/>
        </p:nvSpPr>
        <p:spPr>
          <a:xfrm rot="1800000" flipV="1">
            <a:off x="2034898" y="3168339"/>
            <a:ext cx="1829098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4D488E8-5805-A689-7865-4AA71F42F440}"/>
              </a:ext>
            </a:extLst>
          </p:cNvPr>
          <p:cNvSpPr txBox="1"/>
          <p:nvPr/>
        </p:nvSpPr>
        <p:spPr>
          <a:xfrm>
            <a:off x="2384524" y="3903492"/>
            <a:ext cx="1139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HRM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 </a:t>
            </a: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Motivation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IN" sz="2000" b="1" dirty="0">
              <a:solidFill>
                <a:schemeClr val="accent1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8" name="Graphic 77" descr="Gears">
            <a:extLst>
              <a:ext uri="{FF2B5EF4-FFF2-40B4-BE49-F238E27FC236}">
                <a16:creationId xmlns:a16="http://schemas.microsoft.com/office/drawing/2014/main" id="{20AE9174-1799-F225-63CE-620EEA197F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2191" y="3353509"/>
            <a:ext cx="588393" cy="588393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A294F9D9-9D3C-A91C-B58D-80B452D3A360}"/>
              </a:ext>
            </a:extLst>
          </p:cNvPr>
          <p:cNvGrpSpPr/>
          <p:nvPr/>
        </p:nvGrpSpPr>
        <p:grpSpPr>
          <a:xfrm>
            <a:off x="810302" y="1915152"/>
            <a:ext cx="4302115" cy="4113600"/>
            <a:chOff x="1806508" y="1692586"/>
            <a:chExt cx="4302115" cy="411360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4B1EA7F-5C20-8AC0-01E9-FF6BE30C366C}"/>
                </a:ext>
              </a:extLst>
            </p:cNvPr>
            <p:cNvSpPr txBox="1"/>
            <p:nvPr/>
          </p:nvSpPr>
          <p:spPr>
            <a:xfrm>
              <a:off x="2214039" y="2266824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1</a:t>
              </a:r>
              <a:endParaRPr lang="en-I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F74CA20-C353-3623-8682-C86E39E97C76}"/>
                </a:ext>
              </a:extLst>
            </p:cNvPr>
            <p:cNvSpPr txBox="1"/>
            <p:nvPr/>
          </p:nvSpPr>
          <p:spPr>
            <a:xfrm>
              <a:off x="4020408" y="169258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32839C"/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2</a:t>
              </a:r>
              <a:endParaRPr lang="en-IN" sz="2800" dirty="0">
                <a:solidFill>
                  <a:srgbClr val="32839C"/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58BDAAD-127F-B610-5ABF-28612B243992}"/>
                </a:ext>
              </a:extLst>
            </p:cNvPr>
            <p:cNvSpPr txBox="1"/>
            <p:nvPr/>
          </p:nvSpPr>
          <p:spPr>
            <a:xfrm>
              <a:off x="5455481" y="286196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2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3</a:t>
              </a:r>
              <a:endParaRPr lang="en-IN" sz="2800" dirty="0">
                <a:solidFill>
                  <a:schemeClr val="accent2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8CFB111-E31D-155F-F4DF-F29A4A9A545D}"/>
                </a:ext>
              </a:extLst>
            </p:cNvPr>
            <p:cNvSpPr txBox="1"/>
            <p:nvPr/>
          </p:nvSpPr>
          <p:spPr>
            <a:xfrm>
              <a:off x="5034560" y="471740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bg1">
                      <a:lumMod val="6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4</a:t>
              </a:r>
              <a:endParaRPr lang="en-IN" sz="2800" dirty="0">
                <a:solidFill>
                  <a:schemeClr val="bg1">
                    <a:lumMod val="6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BAE3644-2B57-9F9D-00E6-87873CECA8C2}"/>
                </a:ext>
              </a:extLst>
            </p:cNvPr>
            <p:cNvSpPr txBox="1"/>
            <p:nvPr/>
          </p:nvSpPr>
          <p:spPr>
            <a:xfrm>
              <a:off x="3280440" y="528296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4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5</a:t>
              </a:r>
              <a:endParaRPr lang="en-IN" sz="2800" dirty="0">
                <a:solidFill>
                  <a:schemeClr val="accent4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0AFDBCB-EE91-CB8A-3F7B-CC560DC24D45}"/>
                </a:ext>
              </a:extLst>
            </p:cNvPr>
            <p:cNvSpPr txBox="1"/>
            <p:nvPr/>
          </p:nvSpPr>
          <p:spPr>
            <a:xfrm>
              <a:off x="1806508" y="410758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6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6</a:t>
              </a:r>
              <a:endParaRPr lang="en-IN" sz="2800" dirty="0">
                <a:solidFill>
                  <a:schemeClr val="accent6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</p:grpSp>
      <p:sp>
        <p:nvSpPr>
          <p:cNvPr id="90" name="Google Shape;1123;p35">
            <a:extLst>
              <a:ext uri="{FF2B5EF4-FFF2-40B4-BE49-F238E27FC236}">
                <a16:creationId xmlns:a16="http://schemas.microsoft.com/office/drawing/2014/main" id="{45056678-35EE-AB0F-BE3C-27D597FEFD82}"/>
              </a:ext>
            </a:extLst>
          </p:cNvPr>
          <p:cNvSpPr/>
          <p:nvPr/>
        </p:nvSpPr>
        <p:spPr>
          <a:xfrm rot="16200000">
            <a:off x="6219358" y="1905884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1" name="Google Shape;1124;p35">
            <a:extLst>
              <a:ext uri="{FF2B5EF4-FFF2-40B4-BE49-F238E27FC236}">
                <a16:creationId xmlns:a16="http://schemas.microsoft.com/office/drawing/2014/main" id="{E49D7981-2ADB-4D76-0338-990177F82A4D}"/>
              </a:ext>
            </a:extLst>
          </p:cNvPr>
          <p:cNvSpPr/>
          <p:nvPr/>
        </p:nvSpPr>
        <p:spPr>
          <a:xfrm rot="16200000">
            <a:off x="6219358" y="564135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2" name="Google Shape;1125;p35">
            <a:extLst>
              <a:ext uri="{FF2B5EF4-FFF2-40B4-BE49-F238E27FC236}">
                <a16:creationId xmlns:a16="http://schemas.microsoft.com/office/drawing/2014/main" id="{6E45FF63-B73A-67F9-E002-B61B05F9EA10}"/>
              </a:ext>
            </a:extLst>
          </p:cNvPr>
          <p:cNvSpPr/>
          <p:nvPr/>
        </p:nvSpPr>
        <p:spPr>
          <a:xfrm rot="16200000">
            <a:off x="6219358" y="2652978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3" name="Google Shape;1126;p35">
            <a:extLst>
              <a:ext uri="{FF2B5EF4-FFF2-40B4-BE49-F238E27FC236}">
                <a16:creationId xmlns:a16="http://schemas.microsoft.com/office/drawing/2014/main" id="{177AD545-F2E1-9D4B-1D6B-81BC5345A09F}"/>
              </a:ext>
            </a:extLst>
          </p:cNvPr>
          <p:cNvSpPr/>
          <p:nvPr/>
        </p:nvSpPr>
        <p:spPr>
          <a:xfrm rot="16200000">
            <a:off x="6219358" y="340007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4" name="Google Shape;1127;p35">
            <a:extLst>
              <a:ext uri="{FF2B5EF4-FFF2-40B4-BE49-F238E27FC236}">
                <a16:creationId xmlns:a16="http://schemas.microsoft.com/office/drawing/2014/main" id="{0DFCF411-EA87-3EA1-EBD0-73941AD5CE54}"/>
              </a:ext>
            </a:extLst>
          </p:cNvPr>
          <p:cNvSpPr/>
          <p:nvPr/>
        </p:nvSpPr>
        <p:spPr>
          <a:xfrm rot="16200000">
            <a:off x="6219358" y="4147165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5" name="Google Shape;1128;p35">
            <a:extLst>
              <a:ext uri="{FF2B5EF4-FFF2-40B4-BE49-F238E27FC236}">
                <a16:creationId xmlns:a16="http://schemas.microsoft.com/office/drawing/2014/main" id="{E30CE5E6-D59D-4B41-1AC1-7815CC1FBEA8}"/>
              </a:ext>
            </a:extLst>
          </p:cNvPr>
          <p:cNvSpPr/>
          <p:nvPr/>
        </p:nvSpPr>
        <p:spPr>
          <a:xfrm rot="16200000">
            <a:off x="6219358" y="4894259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6" name="Google Shape;1129;p35">
            <a:extLst>
              <a:ext uri="{FF2B5EF4-FFF2-40B4-BE49-F238E27FC236}">
                <a16:creationId xmlns:a16="http://schemas.microsoft.com/office/drawing/2014/main" id="{7D90DF4F-8243-1FE7-3C4D-BD8C912D30E3}"/>
              </a:ext>
            </a:extLst>
          </p:cNvPr>
          <p:cNvSpPr/>
          <p:nvPr/>
        </p:nvSpPr>
        <p:spPr>
          <a:xfrm>
            <a:off x="7031531" y="1939993"/>
            <a:ext cx="4657555" cy="498379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aptability to Technological Advances</a:t>
            </a:r>
          </a:p>
        </p:txBody>
      </p:sp>
      <p:sp>
        <p:nvSpPr>
          <p:cNvPr id="97" name="Google Shape;1130;p35">
            <a:extLst>
              <a:ext uri="{FF2B5EF4-FFF2-40B4-BE49-F238E27FC236}">
                <a16:creationId xmlns:a16="http://schemas.microsoft.com/office/drawing/2014/main" id="{A053A93F-E572-AB57-1597-CC5848C4506A}"/>
              </a:ext>
            </a:extLst>
          </p:cNvPr>
          <p:cNvSpPr/>
          <p:nvPr/>
        </p:nvSpPr>
        <p:spPr>
          <a:xfrm>
            <a:off x="7031531" y="2680773"/>
            <a:ext cx="4657555" cy="49837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nhanced Decision-Making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8" name="Google Shape;1131;p35">
            <a:extLst>
              <a:ext uri="{FF2B5EF4-FFF2-40B4-BE49-F238E27FC236}">
                <a16:creationId xmlns:a16="http://schemas.microsoft.com/office/drawing/2014/main" id="{E09754EE-2F33-A811-8050-45D245019334}"/>
              </a:ext>
            </a:extLst>
          </p:cNvPr>
          <p:cNvSpPr/>
          <p:nvPr/>
        </p:nvSpPr>
        <p:spPr>
          <a:xfrm>
            <a:off x="7031665" y="3421553"/>
            <a:ext cx="4657555" cy="498379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roved Talent Acquisi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9" name="Google Shape;1132;p35">
            <a:extLst>
              <a:ext uri="{FF2B5EF4-FFF2-40B4-BE49-F238E27FC236}">
                <a16:creationId xmlns:a16="http://schemas.microsoft.com/office/drawing/2014/main" id="{445368F6-FF54-F1CF-6495-52310AD8D3A9}"/>
              </a:ext>
            </a:extLst>
          </p:cNvPr>
          <p:cNvSpPr/>
          <p:nvPr/>
        </p:nvSpPr>
        <p:spPr>
          <a:xfrm>
            <a:off x="7031665" y="4162333"/>
            <a:ext cx="4657555" cy="49837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Engagement and Satisfaction</a:t>
            </a:r>
            <a:endParaRPr lang="en-US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0" name="Google Shape;1133;p35">
            <a:extLst>
              <a:ext uri="{FF2B5EF4-FFF2-40B4-BE49-F238E27FC236}">
                <a16:creationId xmlns:a16="http://schemas.microsoft.com/office/drawing/2014/main" id="{5EDACA8C-A5E6-5279-9727-E59169C5A7D0}"/>
              </a:ext>
            </a:extLst>
          </p:cNvPr>
          <p:cNvSpPr/>
          <p:nvPr/>
        </p:nvSpPr>
        <p:spPr>
          <a:xfrm>
            <a:off x="7031531" y="4903113"/>
            <a:ext cx="4657555" cy="498379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trategic HR Management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1" name="Google Shape;1134;p35">
            <a:extLst>
              <a:ext uri="{FF2B5EF4-FFF2-40B4-BE49-F238E27FC236}">
                <a16:creationId xmlns:a16="http://schemas.microsoft.com/office/drawing/2014/main" id="{39E0C422-85F6-ED6E-2619-821E1C6FE417}"/>
              </a:ext>
            </a:extLst>
          </p:cNvPr>
          <p:cNvSpPr/>
          <p:nvPr/>
        </p:nvSpPr>
        <p:spPr>
          <a:xfrm>
            <a:off x="7031531" y="5643893"/>
            <a:ext cx="4657555" cy="498379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fficiency and Automa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2" name="Google Shape;1141;p35">
            <a:extLst>
              <a:ext uri="{FF2B5EF4-FFF2-40B4-BE49-F238E27FC236}">
                <a16:creationId xmlns:a16="http://schemas.microsoft.com/office/drawing/2014/main" id="{DFFFC2A4-5509-61B3-7287-CE89747873D7}"/>
              </a:ext>
            </a:extLst>
          </p:cNvPr>
          <p:cNvSpPr txBox="1"/>
          <p:nvPr/>
        </p:nvSpPr>
        <p:spPr>
          <a:xfrm>
            <a:off x="6210530" y="19618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1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3" name="Google Shape;1142;p35">
            <a:extLst>
              <a:ext uri="{FF2B5EF4-FFF2-40B4-BE49-F238E27FC236}">
                <a16:creationId xmlns:a16="http://schemas.microsoft.com/office/drawing/2014/main" id="{12806993-D657-6DAE-EB5F-B54C6741182E}"/>
              </a:ext>
            </a:extLst>
          </p:cNvPr>
          <p:cNvSpPr txBox="1"/>
          <p:nvPr/>
        </p:nvSpPr>
        <p:spPr>
          <a:xfrm>
            <a:off x="6210538" y="27089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2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4" name="Google Shape;1143;p35">
            <a:extLst>
              <a:ext uri="{FF2B5EF4-FFF2-40B4-BE49-F238E27FC236}">
                <a16:creationId xmlns:a16="http://schemas.microsoft.com/office/drawing/2014/main" id="{E08B4370-1822-4C28-340E-29DB92AD303A}"/>
              </a:ext>
            </a:extLst>
          </p:cNvPr>
          <p:cNvSpPr txBox="1"/>
          <p:nvPr/>
        </p:nvSpPr>
        <p:spPr>
          <a:xfrm>
            <a:off x="6210545" y="34560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3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5" name="Google Shape;1144;p35">
            <a:extLst>
              <a:ext uri="{FF2B5EF4-FFF2-40B4-BE49-F238E27FC236}">
                <a16:creationId xmlns:a16="http://schemas.microsoft.com/office/drawing/2014/main" id="{7BC2542C-1A88-D23B-4CE0-CB566E1893D1}"/>
              </a:ext>
            </a:extLst>
          </p:cNvPr>
          <p:cNvSpPr txBox="1"/>
          <p:nvPr/>
        </p:nvSpPr>
        <p:spPr>
          <a:xfrm>
            <a:off x="6210519" y="42031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4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6" name="Google Shape;1145;p35">
            <a:extLst>
              <a:ext uri="{FF2B5EF4-FFF2-40B4-BE49-F238E27FC236}">
                <a16:creationId xmlns:a16="http://schemas.microsoft.com/office/drawing/2014/main" id="{6FE4E853-2F14-F567-7D65-139D6CEE174B}"/>
              </a:ext>
            </a:extLst>
          </p:cNvPr>
          <p:cNvSpPr txBox="1"/>
          <p:nvPr/>
        </p:nvSpPr>
        <p:spPr>
          <a:xfrm>
            <a:off x="6210527" y="4950229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5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7" name="Google Shape;1146;p35">
            <a:extLst>
              <a:ext uri="{FF2B5EF4-FFF2-40B4-BE49-F238E27FC236}">
                <a16:creationId xmlns:a16="http://schemas.microsoft.com/office/drawing/2014/main" id="{7CFDA396-50AB-3192-4B3D-D3CD285B78E7}"/>
              </a:ext>
            </a:extLst>
          </p:cNvPr>
          <p:cNvSpPr txBox="1"/>
          <p:nvPr/>
        </p:nvSpPr>
        <p:spPr>
          <a:xfrm>
            <a:off x="6210534" y="5697296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6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5198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7" dur="20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mph" presetSubtype="2" repeatCount="indefinite" fill="remove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>
                                        <p:cTn id="2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F3F3F"/>
                                      </p:to>
                                    </p:animClr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1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8" presetClass="emph" presetSubtype="0" repeatCount="indefinite" fill="hold" grpId="6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3" dur="4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5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9" presetClass="emph" presetSubtype="0" repeatCount="indefinite" fill="remove" grpId="1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8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7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0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2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9" presetClass="emph" presetSubtype="0" repeatCount="indefinite" fill="remove" grpId="2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7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7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repeatCount="indefinite" fill="hold" grpId="8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7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9" presetClass="emph" presetSubtype="0" repeatCount="indefinite" fill="remove" grpId="3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0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animClr clrSpc="rgb" dir="cw">
                                      <p:cBhvr>
                                        <p:cTn id="10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set>
                                      <p:cBhvr>
                                        <p:cTn id="10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2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repeatCount="indefinite" fill="hold" grpId="9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4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6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9" presetClass="emph" presetSubtype="0" repeatCount="indefinite" fill="remove" grpId="4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3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animClr clrSpc="rgb" dir="cw">
                                      <p:cBhvr>
                                        <p:cTn id="13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set>
                                      <p:cBhvr>
                                        <p:cTn id="13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49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0" presetID="8" presetClass="emph" presetSubtype="0" repeatCount="indefinite" fill="hold" grpId="1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1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3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9" presetClass="emph" presetSubtype="0" repeatCount="indefinite" fill="remove" grpId="5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5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animClr clrSpc="rgb" dir="cw">
                                      <p:cBhvr>
                                        <p:cTn id="15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  <p:bldP spid="73" grpId="0" animBg="1"/>
      <p:bldP spid="73" grpId="1" animBg="1"/>
      <p:bldP spid="73" grpId="2" animBg="1"/>
      <p:bldP spid="73" grpId="3" animBg="1"/>
      <p:bldP spid="73" grpId="4" animBg="1"/>
      <p:bldP spid="73" grpId="5" animBg="1"/>
      <p:bldP spid="73" grpId="6" animBg="1"/>
      <p:bldP spid="73" grpId="7" animBg="1"/>
      <p:bldP spid="73" grpId="8" animBg="1"/>
      <p:bldP spid="73" grpId="9" animBg="1"/>
      <p:bldP spid="73" grpId="1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3">
            <a:extLst>
              <a:ext uri="{FF2B5EF4-FFF2-40B4-BE49-F238E27FC236}">
                <a16:creationId xmlns:a16="http://schemas.microsoft.com/office/drawing/2014/main" id="{9C3DCD8D-6F90-6548-EF25-CDBB9B23F89A}"/>
              </a:ext>
            </a:extLst>
          </p:cNvPr>
          <p:cNvSpPr/>
          <p:nvPr/>
        </p:nvSpPr>
        <p:spPr>
          <a:xfrm>
            <a:off x="255639" y="2770259"/>
            <a:ext cx="113491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6DF7EE74-C6CB-459A-A3B0-DE7B827D7DB1}"/>
              </a:ext>
            </a:extLst>
          </p:cNvPr>
          <p:cNvSpPr/>
          <p:nvPr/>
        </p:nvSpPr>
        <p:spPr>
          <a:xfrm>
            <a:off x="255639" y="4290668"/>
            <a:ext cx="11349140" cy="1012825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19">
            <a:extLst>
              <a:ext uri="{FF2B5EF4-FFF2-40B4-BE49-F238E27FC236}">
                <a16:creationId xmlns:a16="http://schemas.microsoft.com/office/drawing/2014/main" id="{008127D5-BAC7-B934-53E2-FD4DEE916CBA}"/>
              </a:ext>
            </a:extLst>
          </p:cNvPr>
          <p:cNvSpPr/>
          <p:nvPr/>
        </p:nvSpPr>
        <p:spPr>
          <a:xfrm>
            <a:off x="255639" y="5524080"/>
            <a:ext cx="11336376" cy="873456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D3B114-046C-EF99-D411-BD00E927F919}"/>
              </a:ext>
            </a:extLst>
          </p:cNvPr>
          <p:cNvSpPr/>
          <p:nvPr/>
        </p:nvSpPr>
        <p:spPr>
          <a:xfrm>
            <a:off x="5072959" y="2770259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33A821-70EF-5D20-494E-0956A0756761}"/>
              </a:ext>
            </a:extLst>
          </p:cNvPr>
          <p:cNvSpPr txBox="1"/>
          <p:nvPr/>
        </p:nvSpPr>
        <p:spPr>
          <a:xfrm>
            <a:off x="665889" y="1661587"/>
            <a:ext cx="44070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irst Research Paper (2023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  <a:p>
            <a:pPr algn="just"/>
            <a:r>
              <a:rPr lang="en-US" sz="14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on Artificial Intelligence in Human Resource Management: Trends and Prospects</a:t>
            </a:r>
            <a:endParaRPr lang="en-GB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297261-2CDD-6B9A-9321-DB3261967E03}"/>
              </a:ext>
            </a:extLst>
          </p:cNvPr>
          <p:cNvSpPr txBox="1"/>
          <p:nvPr/>
        </p:nvSpPr>
        <p:spPr>
          <a:xfrm>
            <a:off x="6787458" y="1654472"/>
            <a:ext cx="448776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Second Research Paper (2021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pPr algn="just"/>
            <a:r>
              <a:rPr lang="en-US" sz="13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act of Artificial Intelligence on Recruitment and Selection of Information Technology Companies</a:t>
            </a:r>
            <a:endParaRPr lang="en-GB" sz="13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2FABEC-BF71-E80A-3B92-0E4988AE36F0}"/>
              </a:ext>
            </a:extLst>
          </p:cNvPr>
          <p:cNvSpPr txBox="1"/>
          <p:nvPr/>
        </p:nvSpPr>
        <p:spPr>
          <a:xfrm>
            <a:off x="344146" y="307095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alysi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xplore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trends, themes, and future directions for research in AI-HRM.</a:t>
            </a:r>
          </a:p>
          <a:p>
            <a:pPr algn="just"/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B2E676-B42E-A155-6655-810A1F250134}"/>
              </a:ext>
            </a:extLst>
          </p:cNvPr>
          <p:cNvSpPr txBox="1"/>
          <p:nvPr/>
        </p:nvSpPr>
        <p:spPr>
          <a:xfrm>
            <a:off x="6761394" y="3024863"/>
            <a:ext cx="47283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xamines the impact of AI on recruitment and selection in Chennai's IT companies through literature review and survey research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3A5824-98EF-1AC6-9EB8-7B2F3B709C37}"/>
              </a:ext>
            </a:extLst>
          </p:cNvPr>
          <p:cNvSpPr txBox="1"/>
          <p:nvPr/>
        </p:nvSpPr>
        <p:spPr>
          <a:xfrm>
            <a:off x="378137" y="4381581"/>
            <a:ext cx="47612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nhances AI-HRM research with references, insights, and in-depth perspectives on emerging trends and knowledge in the fiel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4947EC-AC4C-780D-25A0-469F37CDFA97}"/>
              </a:ext>
            </a:extLst>
          </p:cNvPr>
          <p:cNvSpPr txBox="1"/>
          <p:nvPr/>
        </p:nvSpPr>
        <p:spPr>
          <a:xfrm>
            <a:off x="6759562" y="4500120"/>
            <a:ext cx="46230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s advantages encompass heightened efficiency and accurac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834347-1F29-7923-1EF6-FCD821A2AF7F}"/>
              </a:ext>
            </a:extLst>
          </p:cNvPr>
          <p:cNvSpPr txBox="1"/>
          <p:nvPr/>
        </p:nvSpPr>
        <p:spPr>
          <a:xfrm>
            <a:off x="374758" y="554530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bsence of a specific start date for the Scopus search in the literature, potentially leading to the exclusion of relevant studies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4BA458-2BA9-A78D-9867-1637D597F91F}"/>
              </a:ext>
            </a:extLst>
          </p:cNvPr>
          <p:cNvSpPr txBox="1"/>
          <p:nvPr/>
        </p:nvSpPr>
        <p:spPr>
          <a:xfrm>
            <a:off x="6759562" y="5678000"/>
            <a:ext cx="45813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 limitation of this study is the relatively small sample size.</a:t>
            </a:r>
          </a:p>
        </p:txBody>
      </p:sp>
      <p:pic>
        <p:nvPicPr>
          <p:cNvPr id="14" name="Picture 2" descr="Image result for revenue icon">
            <a:extLst>
              <a:ext uri="{FF2B5EF4-FFF2-40B4-BE49-F238E27FC236}">
                <a16:creationId xmlns:a16="http://schemas.microsoft.com/office/drawing/2014/main" id="{CA4B598D-7792-0B7B-F212-6244E3C86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298" y="4207621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Image result for expansion icon">
            <a:extLst>
              <a:ext uri="{FF2B5EF4-FFF2-40B4-BE49-F238E27FC236}">
                <a16:creationId xmlns:a16="http://schemas.microsoft.com/office/drawing/2014/main" id="{D0AED15D-8B3E-29F3-56B4-589B42823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742" y="2932496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oogle Shape;8552;p76">
            <a:extLst>
              <a:ext uri="{FF2B5EF4-FFF2-40B4-BE49-F238E27FC236}">
                <a16:creationId xmlns:a16="http://schemas.microsoft.com/office/drawing/2014/main" id="{07303945-057E-E494-A44F-E1E495A9F8AA}"/>
              </a:ext>
            </a:extLst>
          </p:cNvPr>
          <p:cNvGrpSpPr/>
          <p:nvPr/>
        </p:nvGrpSpPr>
        <p:grpSpPr>
          <a:xfrm>
            <a:off x="5538112" y="5485953"/>
            <a:ext cx="645695" cy="640684"/>
            <a:chOff x="4102650" y="3665322"/>
            <a:chExt cx="408459" cy="384752"/>
          </a:xfrm>
        </p:grpSpPr>
        <p:sp>
          <p:nvSpPr>
            <p:cNvPr id="17" name="Google Shape;8553;p76">
              <a:extLst>
                <a:ext uri="{FF2B5EF4-FFF2-40B4-BE49-F238E27FC236}">
                  <a16:creationId xmlns:a16="http://schemas.microsoft.com/office/drawing/2014/main" id="{299B3919-BBFB-F6D7-D025-F23D900FEA67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8554;p76">
              <a:extLst>
                <a:ext uri="{FF2B5EF4-FFF2-40B4-BE49-F238E27FC236}">
                  <a16:creationId xmlns:a16="http://schemas.microsoft.com/office/drawing/2014/main" id="{8EED411C-2077-E480-5CD7-F429D1EB1D6D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9" name="Google Shape;8555;p76">
              <a:extLst>
                <a:ext uri="{FF2B5EF4-FFF2-40B4-BE49-F238E27FC236}">
                  <a16:creationId xmlns:a16="http://schemas.microsoft.com/office/drawing/2014/main" id="{17217C29-6F9F-98CE-836F-531ACF002CB2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8556;p76">
              <a:extLst>
                <a:ext uri="{FF2B5EF4-FFF2-40B4-BE49-F238E27FC236}">
                  <a16:creationId xmlns:a16="http://schemas.microsoft.com/office/drawing/2014/main" id="{CF4B02BD-D9B4-075F-318B-8FBA1CAFD713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8557;p76">
              <a:extLst>
                <a:ext uri="{FF2B5EF4-FFF2-40B4-BE49-F238E27FC236}">
                  <a16:creationId xmlns:a16="http://schemas.microsoft.com/office/drawing/2014/main" id="{10597597-9284-7910-9768-EC2DB32E31D1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8558;p76">
              <a:extLst>
                <a:ext uri="{FF2B5EF4-FFF2-40B4-BE49-F238E27FC236}">
                  <a16:creationId xmlns:a16="http://schemas.microsoft.com/office/drawing/2014/main" id="{C71F2675-688A-E72B-B7EB-AE0D30A75A2F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E53D1D2-1D77-18E2-D3EE-175B2C129EB9}"/>
              </a:ext>
            </a:extLst>
          </p:cNvPr>
          <p:cNvSpPr txBox="1"/>
          <p:nvPr/>
        </p:nvSpPr>
        <p:spPr>
          <a:xfrm>
            <a:off x="5072957" y="3586702"/>
            <a:ext cx="1686605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/>
              <a:t>Research Paper</a:t>
            </a:r>
            <a:endParaRPr lang="ar-EG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D0F9A4-1779-F6E3-BB37-3850B7804F4E}"/>
              </a:ext>
            </a:extLst>
          </p:cNvPr>
          <p:cNvSpPr txBox="1"/>
          <p:nvPr/>
        </p:nvSpPr>
        <p:spPr>
          <a:xfrm>
            <a:off x="5427163" y="4955922"/>
            <a:ext cx="947247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Benefits</a:t>
            </a:r>
            <a:endParaRPr lang="ar-EG" dirty="0">
              <a:solidFill>
                <a:srgbClr val="00206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7BF12-DB1B-4E79-CAE7-C5CFC9D5CE34}"/>
              </a:ext>
            </a:extLst>
          </p:cNvPr>
          <p:cNvSpPr txBox="1"/>
          <p:nvPr/>
        </p:nvSpPr>
        <p:spPr>
          <a:xfrm>
            <a:off x="5294915" y="6086971"/>
            <a:ext cx="1213525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28" name="Diagonal Stripe 27">
            <a:extLst>
              <a:ext uri="{FF2B5EF4-FFF2-40B4-BE49-F238E27FC236}">
                <a16:creationId xmlns:a16="http://schemas.microsoft.com/office/drawing/2014/main" id="{0106545C-631A-1BD5-C4ED-FB440D3E35D7}"/>
              </a:ext>
            </a:extLst>
          </p:cNvPr>
          <p:cNvSpPr/>
          <p:nvPr/>
        </p:nvSpPr>
        <p:spPr>
          <a:xfrm>
            <a:off x="11651" y="66572"/>
            <a:ext cx="2219997" cy="2087913"/>
          </a:xfrm>
          <a:prstGeom prst="diagStrip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>
              <a:solidFill>
                <a:schemeClr val="tx1"/>
              </a:solidFill>
            </a:endParaRPr>
          </a:p>
        </p:txBody>
      </p: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C4F28428-BE4C-A8CB-3792-50110243C5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66" y="-351855"/>
            <a:ext cx="2517829" cy="2566672"/>
          </a:xfrm>
          <a:prstGeom prst="rect">
            <a:avLst/>
          </a:prstGeom>
        </p:spPr>
      </p:pic>
      <p:sp>
        <p:nvSpPr>
          <p:cNvPr id="29" name="TextBox 27">
            <a:extLst>
              <a:ext uri="{FF2B5EF4-FFF2-40B4-BE49-F238E27FC236}">
                <a16:creationId xmlns:a16="http://schemas.microsoft.com/office/drawing/2014/main" id="{D9C8F88D-D526-1440-2651-C82D9EB595CF}"/>
              </a:ext>
            </a:extLst>
          </p:cNvPr>
          <p:cNvSpPr txBox="1"/>
          <p:nvPr/>
        </p:nvSpPr>
        <p:spPr>
          <a:xfrm>
            <a:off x="3886448" y="411036"/>
            <a:ext cx="44877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50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23" grpId="0"/>
      <p:bldP spid="24" grpId="0"/>
      <p:bldP spid="25" grpId="0"/>
      <p:bldP spid="2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3">
            <a:extLst>
              <a:ext uri="{FF2B5EF4-FFF2-40B4-BE49-F238E27FC236}">
                <a16:creationId xmlns:a16="http://schemas.microsoft.com/office/drawing/2014/main" id="{D0A69D59-9121-A5F0-D1F5-8E57D704BE51}"/>
              </a:ext>
            </a:extLst>
          </p:cNvPr>
          <p:cNvSpPr/>
          <p:nvPr/>
        </p:nvSpPr>
        <p:spPr>
          <a:xfrm>
            <a:off x="466368" y="2780091"/>
            <a:ext cx="111777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5B3A6D0-C905-AE40-5345-0214A1F974D3}"/>
              </a:ext>
            </a:extLst>
          </p:cNvPr>
          <p:cNvSpPr/>
          <p:nvPr/>
        </p:nvSpPr>
        <p:spPr>
          <a:xfrm>
            <a:off x="466368" y="4300500"/>
            <a:ext cx="11177742" cy="10128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ounded Rectangle 19">
            <a:extLst>
              <a:ext uri="{FF2B5EF4-FFF2-40B4-BE49-F238E27FC236}">
                <a16:creationId xmlns:a16="http://schemas.microsoft.com/office/drawing/2014/main" id="{BC777402-4119-6D8B-FAFE-FCB759FA169A}"/>
              </a:ext>
            </a:extLst>
          </p:cNvPr>
          <p:cNvSpPr/>
          <p:nvPr/>
        </p:nvSpPr>
        <p:spPr>
          <a:xfrm>
            <a:off x="453602" y="5533912"/>
            <a:ext cx="11177742" cy="87345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9E6837-60BE-74F7-2C81-971324479F7E}"/>
              </a:ext>
            </a:extLst>
          </p:cNvPr>
          <p:cNvSpPr txBox="1"/>
          <p:nvPr/>
        </p:nvSpPr>
        <p:spPr>
          <a:xfrm>
            <a:off x="713442" y="1776606"/>
            <a:ext cx="39773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Third Research Paper (2022)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USING ARTIFICIAL INTELLIGENCE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9B14BC-2C92-2767-A4FA-36EDD34D70C6}"/>
              </a:ext>
            </a:extLst>
          </p:cNvPr>
          <p:cNvSpPr txBox="1"/>
          <p:nvPr/>
        </p:nvSpPr>
        <p:spPr>
          <a:xfrm>
            <a:off x="6405289" y="1776606"/>
            <a:ext cx="432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ourth Research Paper (2021)</a:t>
            </a:r>
          </a:p>
          <a:p>
            <a:endParaRPr lang="en-US" sz="1200" dirty="0"/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(CVs) Evaluation Using Machine Learning Approach 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2E00D-DFB5-DBB2-8ED3-0D08478B7F94}"/>
              </a:ext>
            </a:extLst>
          </p:cNvPr>
          <p:cNvSpPr txBox="1"/>
          <p:nvPr/>
        </p:nvSpPr>
        <p:spPr>
          <a:xfrm>
            <a:off x="566164" y="2911585"/>
            <a:ext cx="4139109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created an AI-based job matching algorithm incorporating previous hiring settings, currently used by the Department of Employment, Thailan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2291D8-DE47-4906-8118-57802114F07B}"/>
              </a:ext>
            </a:extLst>
          </p:cNvPr>
          <p:cNvSpPr txBox="1"/>
          <p:nvPr/>
        </p:nvSpPr>
        <p:spPr>
          <a:xfrm>
            <a:off x="6441585" y="2973003"/>
            <a:ext cx="5103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focuses on using Machine learning to assess CVs for higher education students, enhancing accuracy and effectiveness of candidate evaluatio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7656A-4FD0-BB54-CB3C-71646568D61E}"/>
              </a:ext>
            </a:extLst>
          </p:cNvPr>
          <p:cNvSpPr txBox="1"/>
          <p:nvPr/>
        </p:nvSpPr>
        <p:spPr>
          <a:xfrm>
            <a:off x="573320" y="4393197"/>
            <a:ext cx="4117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 job matching: Enhancing candidate-employer matches and hiring process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D0CE7F-6981-04F3-F6D3-ED0577142A85}"/>
              </a:ext>
            </a:extLst>
          </p:cNvPr>
          <p:cNvSpPr txBox="1"/>
          <p:nvPr/>
        </p:nvSpPr>
        <p:spPr>
          <a:xfrm>
            <a:off x="6393791" y="4421118"/>
            <a:ext cx="5151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automates preselection and candidate assessment, delivering precise evaluation results and substituting manual process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E1EFB6-F80B-87BB-7BD9-AC097DABAD89}"/>
              </a:ext>
            </a:extLst>
          </p:cNvPr>
          <p:cNvSpPr txBox="1"/>
          <p:nvPr/>
        </p:nvSpPr>
        <p:spPr>
          <a:xfrm>
            <a:off x="561921" y="5555141"/>
            <a:ext cx="4128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challenge in acquiring an extensive dataset of personal information about individuals' work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3EB938-17B2-6D3F-7AFF-E61D122781B5}"/>
              </a:ext>
            </a:extLst>
          </p:cNvPr>
          <p:cNvSpPr txBox="1"/>
          <p:nvPr/>
        </p:nvSpPr>
        <p:spPr>
          <a:xfrm>
            <a:off x="6390365" y="5566233"/>
            <a:ext cx="5036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L for CV evaluation requires a substantial volume of data for training and may have limitations beyond the training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6FC91B-D39D-A5E4-2531-807D02A584B8}"/>
              </a:ext>
            </a:extLst>
          </p:cNvPr>
          <p:cNvSpPr txBox="1"/>
          <p:nvPr/>
        </p:nvSpPr>
        <p:spPr>
          <a:xfrm>
            <a:off x="3895659" y="318867"/>
            <a:ext cx="448776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 cont.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EF41DC-A145-1094-E22C-FEFE8A1D4F72}"/>
              </a:ext>
            </a:extLst>
          </p:cNvPr>
          <p:cNvSpPr/>
          <p:nvPr/>
        </p:nvSpPr>
        <p:spPr>
          <a:xfrm>
            <a:off x="4690789" y="2789364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Image result for revenue icon">
            <a:extLst>
              <a:ext uri="{FF2B5EF4-FFF2-40B4-BE49-F238E27FC236}">
                <a16:creationId xmlns:a16="http://schemas.microsoft.com/office/drawing/2014/main" id="{3DB5EAAF-D7E8-DA6E-E465-6AB22BDA0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28" y="4226726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Image result for expansion icon">
            <a:extLst>
              <a:ext uri="{FF2B5EF4-FFF2-40B4-BE49-F238E27FC236}">
                <a16:creationId xmlns:a16="http://schemas.microsoft.com/office/drawing/2014/main" id="{A697E26B-5962-6CCC-2C0E-0BAD90FA5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572" y="2951601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oogle Shape;8552;p76">
            <a:extLst>
              <a:ext uri="{FF2B5EF4-FFF2-40B4-BE49-F238E27FC236}">
                <a16:creationId xmlns:a16="http://schemas.microsoft.com/office/drawing/2014/main" id="{ED3BCF4F-C208-F655-91FE-6B6A18F15C4B}"/>
              </a:ext>
            </a:extLst>
          </p:cNvPr>
          <p:cNvGrpSpPr/>
          <p:nvPr/>
        </p:nvGrpSpPr>
        <p:grpSpPr>
          <a:xfrm>
            <a:off x="5155942" y="5505058"/>
            <a:ext cx="645695" cy="640684"/>
            <a:chOff x="4102650" y="3665322"/>
            <a:chExt cx="408459" cy="384752"/>
          </a:xfrm>
        </p:grpSpPr>
        <p:sp>
          <p:nvSpPr>
            <p:cNvPr id="31" name="Google Shape;8553;p76">
              <a:extLst>
                <a:ext uri="{FF2B5EF4-FFF2-40B4-BE49-F238E27FC236}">
                  <a16:creationId xmlns:a16="http://schemas.microsoft.com/office/drawing/2014/main" id="{B0BD1D7B-9A1D-F9B7-B6F4-3D608F0750AA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554;p76">
              <a:extLst>
                <a:ext uri="{FF2B5EF4-FFF2-40B4-BE49-F238E27FC236}">
                  <a16:creationId xmlns:a16="http://schemas.microsoft.com/office/drawing/2014/main" id="{84196123-193F-0DEB-5D67-AE2744DD52C1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3" name="Google Shape;8555;p76">
              <a:extLst>
                <a:ext uri="{FF2B5EF4-FFF2-40B4-BE49-F238E27FC236}">
                  <a16:creationId xmlns:a16="http://schemas.microsoft.com/office/drawing/2014/main" id="{A3682E7A-4D99-B5F1-C571-BDBE3ABEA586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556;p76">
              <a:extLst>
                <a:ext uri="{FF2B5EF4-FFF2-40B4-BE49-F238E27FC236}">
                  <a16:creationId xmlns:a16="http://schemas.microsoft.com/office/drawing/2014/main" id="{94919098-600C-A35D-4D0E-1310E9898C07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557;p76">
              <a:extLst>
                <a:ext uri="{FF2B5EF4-FFF2-40B4-BE49-F238E27FC236}">
                  <a16:creationId xmlns:a16="http://schemas.microsoft.com/office/drawing/2014/main" id="{4774FC73-150A-B5DD-35C2-F1048221E8A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6" name="Google Shape;8558;p76">
              <a:extLst>
                <a:ext uri="{FF2B5EF4-FFF2-40B4-BE49-F238E27FC236}">
                  <a16:creationId xmlns:a16="http://schemas.microsoft.com/office/drawing/2014/main" id="{2BC71C9F-0933-C641-DD17-D95E75DCAD30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B3248AE-82D1-F370-D7F6-9325C6DAB2DB}"/>
              </a:ext>
            </a:extLst>
          </p:cNvPr>
          <p:cNvSpPr txBox="1"/>
          <p:nvPr/>
        </p:nvSpPr>
        <p:spPr>
          <a:xfrm>
            <a:off x="4757240" y="3605807"/>
            <a:ext cx="162015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search Paper</a:t>
            </a:r>
            <a:endParaRPr lang="ar-EG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9043FA-2E33-9BE7-2621-49DE2824B812}"/>
              </a:ext>
            </a:extLst>
          </p:cNvPr>
          <p:cNvSpPr txBox="1"/>
          <p:nvPr/>
        </p:nvSpPr>
        <p:spPr>
          <a:xfrm>
            <a:off x="5044993" y="4975027"/>
            <a:ext cx="947247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1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enefits</a:t>
            </a:r>
            <a:endParaRPr lang="ar-E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E44699-8591-777F-13CB-4D66C1FDE558}"/>
              </a:ext>
            </a:extLst>
          </p:cNvPr>
          <p:cNvSpPr txBox="1"/>
          <p:nvPr/>
        </p:nvSpPr>
        <p:spPr>
          <a:xfrm>
            <a:off x="4883021" y="6144842"/>
            <a:ext cx="1256522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F4FFA840-EECD-3363-0F47-E5D7954E6252}"/>
              </a:ext>
            </a:extLst>
          </p:cNvPr>
          <p:cNvSpPr/>
          <p:nvPr/>
        </p:nvSpPr>
        <p:spPr>
          <a:xfrm>
            <a:off x="86437" y="102980"/>
            <a:ext cx="2214636" cy="1502905"/>
          </a:xfrm>
          <a:prstGeom prst="hear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C132BF15-E755-268B-E747-5559140CCF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" y="-384258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41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28" grpId="0"/>
      <p:bldP spid="2" grpId="0" animBg="1"/>
      <p:bldP spid="37" grpId="0"/>
      <p:bldP spid="38" grpId="0"/>
      <p:bldP spid="39" grpId="0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8</TotalTime>
  <Words>1731</Words>
  <Application>Microsoft Office PowerPoint</Application>
  <PresentationFormat>Widescreen</PresentationFormat>
  <Paragraphs>409</Paragraphs>
  <Slides>62</Slides>
  <Notes>2</Notes>
  <HiddenSlides>0</HiddenSlides>
  <MMClips>1</MMClips>
  <ScaleCrop>false</ScaleCrop>
  <HeadingPairs>
    <vt:vector size="6" baseType="variant">
      <vt:variant>
        <vt:lpstr>Fonts Used</vt:lpstr>
      </vt:variant>
      <vt:variant>
        <vt:i4>1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2</vt:i4>
      </vt:variant>
    </vt:vector>
  </HeadingPairs>
  <TitlesOfParts>
    <vt:vector size="83" baseType="lpstr">
      <vt:lpstr>ADLaM Display</vt:lpstr>
      <vt:lpstr>Adobe Gothic Std B</vt:lpstr>
      <vt:lpstr>Aptos</vt:lpstr>
      <vt:lpstr>Aptos Display</vt:lpstr>
      <vt:lpstr>Arial</vt:lpstr>
      <vt:lpstr>Barlow SemiCondensed Semi-Bold</vt:lpstr>
      <vt:lpstr>Calibri</vt:lpstr>
      <vt:lpstr>Calibri Light</vt:lpstr>
      <vt:lpstr>Calisto MT</vt:lpstr>
      <vt:lpstr>Castellar</vt:lpstr>
      <vt:lpstr>Century Gothic</vt:lpstr>
      <vt:lpstr>Economica</vt:lpstr>
      <vt:lpstr>Eras Demi ITC</vt:lpstr>
      <vt:lpstr>Lora</vt:lpstr>
      <vt:lpstr>Lucida Fax</vt:lpstr>
      <vt:lpstr>Roboto</vt:lpstr>
      <vt:lpstr>Roboto Medium</vt:lpstr>
      <vt:lpstr>Segoe UI Black</vt:lpstr>
      <vt:lpstr>Wingdings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hid Ahmed</dc:creator>
  <cp:lastModifiedBy>Hossam Saber Ahmed</cp:lastModifiedBy>
  <cp:revision>205</cp:revision>
  <dcterms:created xsi:type="dcterms:W3CDTF">2018-02-09T06:25:44Z</dcterms:created>
  <dcterms:modified xsi:type="dcterms:W3CDTF">2024-06-22T18:32:01Z</dcterms:modified>
</cp:coreProperties>
</file>